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51" r:id="rId4"/>
  </p:sldMasterIdLst>
  <p:notesMasterIdLst>
    <p:notesMasterId r:id="rId6"/>
  </p:notesMasterIdLst>
  <p:handoutMasterIdLst>
    <p:handoutMasterId r:id="rId7"/>
  </p:handoutMasterIdLst>
  <p:sldIdLst>
    <p:sldId id="513" r:id="rId5"/>
  </p:sldIdLst>
  <p:sldSz cx="12192000" cy="6858000"/>
  <p:notesSz cx="7023100" cy="9309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CED0"/>
    <a:srgbClr val="606B71"/>
    <a:srgbClr val="830065"/>
    <a:srgbClr val="F4F5F5"/>
    <a:srgbClr val="959CA0"/>
    <a:srgbClr val="000000"/>
    <a:srgbClr val="2B3A42"/>
    <a:srgbClr val="DA291C"/>
    <a:srgbClr val="F0B323"/>
    <a:srgbClr val="FE8A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7" autoAdjust="0"/>
    <p:restoredTop sz="93163" autoAdjust="0"/>
  </p:normalViewPr>
  <p:slideViewPr>
    <p:cSldViewPr>
      <p:cViewPr varScale="1">
        <p:scale>
          <a:sx n="114" d="100"/>
          <a:sy n="114" d="100"/>
        </p:scale>
        <p:origin x="474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2"/>
    </p:cViewPr>
  </p:sorterViewPr>
  <p:notesViewPr>
    <p:cSldViewPr>
      <p:cViewPr varScale="1">
        <p:scale>
          <a:sx n="62" d="100"/>
          <a:sy n="62" d="100"/>
        </p:scale>
        <p:origin x="31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8/14/2019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Nr.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8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B50517-E7A9-5D46-9F0B-16C0335498B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03"/>
          <a:stretch/>
        </p:blipFill>
        <p:spPr>
          <a:xfrm>
            <a:off x="0" y="0"/>
            <a:ext cx="6198326" cy="68580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24816" y="5485533"/>
            <a:ext cx="2568634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9" y="771348"/>
            <a:ext cx="68580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6577442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9 IQVIA. All rights reserved. 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QVIA</a:t>
            </a:r>
            <a:r>
              <a:rPr lang="en-US" sz="8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a registered trademark of IQVIA Inc. in the United States and various other countries.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DF7400E-EC7C-BA43-AEF9-3E7E0F27276B}"/>
              </a:ext>
            </a:extLst>
          </p:cNvPr>
          <p:cNvGrpSpPr/>
          <p:nvPr/>
        </p:nvGrpSpPr>
        <p:grpSpPr>
          <a:xfrm>
            <a:off x="12420545" y="0"/>
            <a:ext cx="286823" cy="5681184"/>
            <a:chOff x="12420545" y="0"/>
            <a:chExt cx="286823" cy="5681184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F9590E8A-50D9-7C48-93CF-ABBFB52E35D6}"/>
                </a:ext>
              </a:extLst>
            </p:cNvPr>
            <p:cNvSpPr/>
            <p:nvPr/>
          </p:nvSpPr>
          <p:spPr bwMode="gray">
            <a:xfrm>
              <a:off x="12420545" y="3146922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0196C5BD-C924-AF43-8171-AA6DE514E15F}"/>
                </a:ext>
              </a:extLst>
            </p:cNvPr>
            <p:cNvSpPr/>
            <p:nvPr/>
          </p:nvSpPr>
          <p:spPr bwMode="gray">
            <a:xfrm>
              <a:off x="12420545" y="22078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FC4A6194-2803-9748-A41E-C27ED626213C}"/>
                </a:ext>
              </a:extLst>
            </p:cNvPr>
            <p:cNvSpPr/>
            <p:nvPr/>
          </p:nvSpPr>
          <p:spPr bwMode="gray">
            <a:xfrm>
              <a:off x="12420545" y="2542393"/>
              <a:ext cx="284385" cy="284385"/>
            </a:xfrm>
            <a:prstGeom prst="rect">
              <a:avLst/>
            </a:prstGeom>
            <a:solidFill>
              <a:srgbClr val="F0B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9EE3238E-35EC-4E49-A7B5-1A999CAEC332}"/>
                </a:ext>
              </a:extLst>
            </p:cNvPr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EA5D83F3-A829-BE40-900F-2C04F5C360A5}"/>
                </a:ext>
              </a:extLst>
            </p:cNvPr>
            <p:cNvSpPr/>
            <p:nvPr/>
          </p:nvSpPr>
          <p:spPr bwMode="gray">
            <a:xfrm>
              <a:off x="12420545" y="333901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CBAE0623-9594-FB41-B820-93EE8253DFA9}"/>
                </a:ext>
              </a:extLst>
            </p:cNvPr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00B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5877563A-F18C-5E41-BEF8-A13FB93D3B9A}"/>
                </a:ext>
              </a:extLst>
            </p:cNvPr>
            <p:cNvSpPr/>
            <p:nvPr/>
          </p:nvSpPr>
          <p:spPr bwMode="gray">
            <a:xfrm>
              <a:off x="12420545" y="9374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90F0737C-2CCB-CC46-80A7-A1955E3D5F74}"/>
                </a:ext>
              </a:extLst>
            </p:cNvPr>
            <p:cNvSpPr/>
            <p:nvPr/>
          </p:nvSpPr>
          <p:spPr bwMode="gray">
            <a:xfrm>
              <a:off x="12420545" y="1270313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605537FD-13BE-4542-AA4E-6855CC5ED3D8}"/>
                </a:ext>
              </a:extLst>
            </p:cNvPr>
            <p:cNvSpPr/>
            <p:nvPr/>
          </p:nvSpPr>
          <p:spPr bwMode="gray">
            <a:xfrm>
              <a:off x="12422983" y="4081065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Freeform 14">
              <a:extLst>
                <a:ext uri="{FF2B5EF4-FFF2-40B4-BE49-F238E27FC236}">
                  <a16:creationId xmlns:a16="http://schemas.microsoft.com/office/drawing/2014/main" id="{B028FBC5-D788-CD48-B107-E7FDB8021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414180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6B7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88260287-C4CA-A341-A515-A095C63922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737540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9CA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7E23774D-C841-CC47-B07D-6C8F1B5B2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071139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ACED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7">
              <a:extLst>
                <a:ext uri="{FF2B5EF4-FFF2-40B4-BE49-F238E27FC236}">
                  <a16:creationId xmlns:a16="http://schemas.microsoft.com/office/drawing/2014/main" id="{DD9CEAD1-BA14-774A-8868-6D8E32ECD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393846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A7ED8F03-204B-EB40-8CF9-8585ACEE1A2D}"/>
                </a:ext>
              </a:extLst>
            </p:cNvPr>
            <p:cNvSpPr/>
            <p:nvPr/>
          </p:nvSpPr>
          <p:spPr bwMode="gray">
            <a:xfrm>
              <a:off x="12420545" y="3478023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9" name="Picture 28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E552D89C-5F26-4F14-A0C2-5964052814F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60344" y="456961"/>
            <a:ext cx="2285541" cy="62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480256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50195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50195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0F2032A-6CF2-447C-A991-1F6315F52A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2811" y="6402112"/>
            <a:ext cx="1359865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594935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50195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50195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50195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0FAA5DA-FBD5-452E-A6EE-8BD54786A0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2811" y="6402112"/>
            <a:ext cx="1359865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430071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739831B-34D5-4F7F-9BDC-FE8D9482BB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2811" y="6402112"/>
            <a:ext cx="1359865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945661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0BC8ECF-86E0-4435-AAF0-957E745823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2811" y="6402112"/>
            <a:ext cx="1359865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054249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087814-465B-43B7-A674-7755215008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2811" y="6402112"/>
            <a:ext cx="1359865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678466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50A504E-2C88-A045-A3EA-6C9232CF9318}"/>
              </a:ext>
            </a:extLst>
          </p:cNvPr>
          <p:cNvGrpSpPr/>
          <p:nvPr/>
        </p:nvGrpSpPr>
        <p:grpSpPr>
          <a:xfrm>
            <a:off x="12420545" y="0"/>
            <a:ext cx="286823" cy="5681184"/>
            <a:chOff x="12420545" y="0"/>
            <a:chExt cx="286823" cy="568118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87E191E2-1B89-3C4B-BCED-4DCCC8155747}"/>
                </a:ext>
              </a:extLst>
            </p:cNvPr>
            <p:cNvSpPr/>
            <p:nvPr/>
          </p:nvSpPr>
          <p:spPr bwMode="gray">
            <a:xfrm>
              <a:off x="12420545" y="3146922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B47F097F-755C-FA4A-A9BD-3E61934830D1}"/>
                </a:ext>
              </a:extLst>
            </p:cNvPr>
            <p:cNvSpPr/>
            <p:nvPr/>
          </p:nvSpPr>
          <p:spPr bwMode="gray">
            <a:xfrm>
              <a:off x="12420545" y="22078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C33810B-DCBE-2546-BD2E-2AD1FD424E36}"/>
                </a:ext>
              </a:extLst>
            </p:cNvPr>
            <p:cNvSpPr/>
            <p:nvPr/>
          </p:nvSpPr>
          <p:spPr bwMode="gray">
            <a:xfrm>
              <a:off x="12420545" y="2542393"/>
              <a:ext cx="284385" cy="284385"/>
            </a:xfrm>
            <a:prstGeom prst="rect">
              <a:avLst/>
            </a:prstGeom>
            <a:solidFill>
              <a:srgbClr val="F0B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6359CE2D-F7DE-C14A-AA5A-0E3EC301019C}"/>
                </a:ext>
              </a:extLst>
            </p:cNvPr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45E2D9AE-7848-AC4D-AB22-CD08A9DB74EF}"/>
                </a:ext>
              </a:extLst>
            </p:cNvPr>
            <p:cNvSpPr/>
            <p:nvPr/>
          </p:nvSpPr>
          <p:spPr bwMode="gray">
            <a:xfrm>
              <a:off x="12420545" y="333901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F828DBFC-3AB5-B940-A4DE-50987E81062A}"/>
                </a:ext>
              </a:extLst>
            </p:cNvPr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00B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4EE0E2EF-DADD-7443-B5DC-9A16EC54F6D4}"/>
                </a:ext>
              </a:extLst>
            </p:cNvPr>
            <p:cNvSpPr/>
            <p:nvPr/>
          </p:nvSpPr>
          <p:spPr bwMode="gray">
            <a:xfrm>
              <a:off x="12420545" y="9374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C1E91F0B-B6F8-7C4C-9873-87D38C195024}"/>
                </a:ext>
              </a:extLst>
            </p:cNvPr>
            <p:cNvSpPr/>
            <p:nvPr/>
          </p:nvSpPr>
          <p:spPr bwMode="gray">
            <a:xfrm>
              <a:off x="12420545" y="1270313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D319761-B8C8-D94B-9D13-A63FD84B8A7D}"/>
                </a:ext>
              </a:extLst>
            </p:cNvPr>
            <p:cNvSpPr/>
            <p:nvPr/>
          </p:nvSpPr>
          <p:spPr bwMode="gray">
            <a:xfrm>
              <a:off x="12422983" y="4081065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Freeform 14">
              <a:extLst>
                <a:ext uri="{FF2B5EF4-FFF2-40B4-BE49-F238E27FC236}">
                  <a16:creationId xmlns:a16="http://schemas.microsoft.com/office/drawing/2014/main" id="{21852CA1-8834-DB43-950A-6725B4E87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414180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6B7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id="{FDB7D228-6048-5A47-8162-FB8734B73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737540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9CA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id="{75489A89-BCCE-C142-B92F-03A05AD04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071139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ACED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id="{E6926AE7-9D4E-AD4E-92B2-476D0906C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393846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696A447D-B5AA-5A45-AA2B-89A76F26DF0F}"/>
                </a:ext>
              </a:extLst>
            </p:cNvPr>
            <p:cNvSpPr/>
            <p:nvPr/>
          </p:nvSpPr>
          <p:spPr bwMode="gray">
            <a:xfrm>
              <a:off x="12420545" y="3478023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91411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accent1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AE29B5-9C5D-7E45-B437-5861243463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946623" y="835015"/>
            <a:ext cx="2309043" cy="4999476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able of Content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3A77B51-6218-4CB6-B358-E185D65F94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2811" y="6402112"/>
            <a:ext cx="1359865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790279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9" y="771348"/>
            <a:ext cx="68580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0" name="Picture 9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B206BF19-7B0E-4576-8843-BC9C4BE82C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60344" y="456961"/>
            <a:ext cx="2285541" cy="62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061475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4A9979-146A-6748-9946-49456E9153F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8312"/>
            <a:ext cx="1390142" cy="241046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858014972"/>
      </p:ext>
    </p:extLst>
  </p:cSld>
  <p:clrMapOvr>
    <a:masterClrMapping/>
  </p:clrMapOvr>
  <p:transition spd="med"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invGray">
          <a:xfrm>
            <a:off x="0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9C3E2B-BF42-1545-A267-5890C25E10B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5428" y="452253"/>
            <a:ext cx="2299081" cy="622554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9" y="771348"/>
            <a:ext cx="685802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20D233E-6315-D546-9678-028EC1C587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3" y="3205987"/>
            <a:ext cx="3321190" cy="363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327294"/>
      </p:ext>
    </p:extLst>
  </p:cSld>
  <p:clrMapOvr>
    <a:masterClrMapping/>
  </p:clrMapOvr>
  <p:transition spd="med"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1390507" y="4519845"/>
            <a:ext cx="4500016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8C04E1F-DD99-484D-A92B-4894500A96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369" r="2224" b="1268"/>
          <a:stretch/>
        </p:blipFill>
        <p:spPr>
          <a:xfrm>
            <a:off x="2819" y="1017135"/>
            <a:ext cx="6163520" cy="4928810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8990" y="1603734"/>
            <a:ext cx="1701018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9" y="771348"/>
            <a:ext cx="68580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F5A5F58-6EDE-A442-B054-AF8E151BB085}"/>
              </a:ext>
            </a:extLst>
          </p:cNvPr>
          <p:cNvSpPr txBox="1"/>
          <p:nvPr/>
        </p:nvSpPr>
        <p:spPr bwMode="black">
          <a:xfrm>
            <a:off x="1075693" y="6520894"/>
            <a:ext cx="6577442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9 IQVIA. All rights reserved. 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QVIA</a:t>
            </a:r>
            <a:r>
              <a:rPr lang="en-US" sz="8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a registered trademark of IQVIA Inc. in the United States and various other countries.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BFFA437-55BF-5844-9AF4-BABEF07588FE}"/>
              </a:ext>
            </a:extLst>
          </p:cNvPr>
          <p:cNvGrpSpPr/>
          <p:nvPr/>
        </p:nvGrpSpPr>
        <p:grpSpPr>
          <a:xfrm>
            <a:off x="12420545" y="0"/>
            <a:ext cx="286823" cy="5681184"/>
            <a:chOff x="12420545" y="0"/>
            <a:chExt cx="286823" cy="5681184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43B0622E-9A94-3F46-8B68-6C596372962A}"/>
                </a:ext>
              </a:extLst>
            </p:cNvPr>
            <p:cNvSpPr/>
            <p:nvPr/>
          </p:nvSpPr>
          <p:spPr bwMode="gray">
            <a:xfrm>
              <a:off x="12420545" y="3146922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0826910-B6CD-9746-9F30-EF715AFF624C}"/>
                </a:ext>
              </a:extLst>
            </p:cNvPr>
            <p:cNvSpPr/>
            <p:nvPr/>
          </p:nvSpPr>
          <p:spPr bwMode="gray">
            <a:xfrm>
              <a:off x="12420545" y="22078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1A1AD4E-3FBF-0943-85CF-C3C6A5392677}"/>
                </a:ext>
              </a:extLst>
            </p:cNvPr>
            <p:cNvSpPr/>
            <p:nvPr/>
          </p:nvSpPr>
          <p:spPr bwMode="gray">
            <a:xfrm>
              <a:off x="12420545" y="2542393"/>
              <a:ext cx="284385" cy="284385"/>
            </a:xfrm>
            <a:prstGeom prst="rect">
              <a:avLst/>
            </a:prstGeom>
            <a:solidFill>
              <a:srgbClr val="F0B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12A7A35-0B9A-ED42-B076-0E0C08DBBE5E}"/>
                </a:ext>
              </a:extLst>
            </p:cNvPr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4B6AB411-AB89-FD45-88F2-2395384E73BF}"/>
                </a:ext>
              </a:extLst>
            </p:cNvPr>
            <p:cNvSpPr/>
            <p:nvPr/>
          </p:nvSpPr>
          <p:spPr bwMode="gray">
            <a:xfrm>
              <a:off x="12420545" y="333901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35A20CFE-31B6-EC4A-AA1A-AEC0C5FD3606}"/>
                </a:ext>
              </a:extLst>
            </p:cNvPr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00B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272DF1C0-47FD-F548-8717-32A78B2F1369}"/>
                </a:ext>
              </a:extLst>
            </p:cNvPr>
            <p:cNvSpPr/>
            <p:nvPr/>
          </p:nvSpPr>
          <p:spPr bwMode="gray">
            <a:xfrm>
              <a:off x="12420545" y="9374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19C800-E9EA-A840-B4A4-55DD4139C942}"/>
                </a:ext>
              </a:extLst>
            </p:cNvPr>
            <p:cNvSpPr/>
            <p:nvPr/>
          </p:nvSpPr>
          <p:spPr bwMode="gray">
            <a:xfrm>
              <a:off x="12420545" y="1270313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F940134D-1837-244B-B6CB-5EC4BED4F435}"/>
                </a:ext>
              </a:extLst>
            </p:cNvPr>
            <p:cNvSpPr/>
            <p:nvPr/>
          </p:nvSpPr>
          <p:spPr bwMode="gray">
            <a:xfrm>
              <a:off x="12422983" y="4081065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E8AEE985-5075-184A-8E5A-32D0410D0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414180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6B7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5">
              <a:extLst>
                <a:ext uri="{FF2B5EF4-FFF2-40B4-BE49-F238E27FC236}">
                  <a16:creationId xmlns:a16="http://schemas.microsoft.com/office/drawing/2014/main" id="{403D74C3-D122-F645-B043-313D9B7F6B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737540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9CA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6">
              <a:extLst>
                <a:ext uri="{FF2B5EF4-FFF2-40B4-BE49-F238E27FC236}">
                  <a16:creationId xmlns:a16="http://schemas.microsoft.com/office/drawing/2014/main" id="{5A51F912-E76A-3348-9217-007796EEF2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071139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ACED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7">
              <a:extLst>
                <a:ext uri="{FF2B5EF4-FFF2-40B4-BE49-F238E27FC236}">
                  <a16:creationId xmlns:a16="http://schemas.microsoft.com/office/drawing/2014/main" id="{9CB54DE3-F9EA-7241-A2EA-6B2BBFDFE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393846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E63A1A1-EAB5-314D-89EB-6ED1EB88A9B6}"/>
                </a:ext>
              </a:extLst>
            </p:cNvPr>
            <p:cNvSpPr/>
            <p:nvPr/>
          </p:nvSpPr>
          <p:spPr bwMode="gray">
            <a:xfrm>
              <a:off x="12420545" y="3478023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8" name="Picture 27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25C1163E-9804-44BE-957B-82949B44149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60344" y="456961"/>
            <a:ext cx="2285541" cy="62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0922605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58">
            <a:extLst>
              <a:ext uri="{FF2B5EF4-FFF2-40B4-BE49-F238E27FC236}">
                <a16:creationId xmlns:a16="http://schemas.microsoft.com/office/drawing/2014/main" id="{955E76C3-3D39-2848-A6DD-056B1D6FA71D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34" name="Rectangle 58">
            <a:extLst>
              <a:ext uri="{FF2B5EF4-FFF2-40B4-BE49-F238E27FC236}">
                <a16:creationId xmlns:a16="http://schemas.microsoft.com/office/drawing/2014/main" id="{8043E545-41FB-3D4C-AAEB-1BAF2E3C494A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-424816" y="5485533"/>
            <a:ext cx="2568634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9" y="771348"/>
            <a:ext cx="68580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2D5DE5F-71DB-8949-A182-9A1FAE13EB25}"/>
              </a:ext>
            </a:extLst>
          </p:cNvPr>
          <p:cNvGrpSpPr/>
          <p:nvPr/>
        </p:nvGrpSpPr>
        <p:grpSpPr>
          <a:xfrm>
            <a:off x="12420545" y="0"/>
            <a:ext cx="286823" cy="5681184"/>
            <a:chOff x="12420545" y="0"/>
            <a:chExt cx="286823" cy="5681184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9BA8DA8-DE3F-4048-B5D5-A5BD0B51822B}"/>
                </a:ext>
              </a:extLst>
            </p:cNvPr>
            <p:cNvSpPr/>
            <p:nvPr/>
          </p:nvSpPr>
          <p:spPr bwMode="gray">
            <a:xfrm>
              <a:off x="12420545" y="3146922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BB9A63A3-E120-A148-B4F0-F08987D8383C}"/>
                </a:ext>
              </a:extLst>
            </p:cNvPr>
            <p:cNvSpPr/>
            <p:nvPr/>
          </p:nvSpPr>
          <p:spPr bwMode="gray">
            <a:xfrm>
              <a:off x="12420545" y="22078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59096F0-ACF6-DC45-B17E-6746172D734C}"/>
                </a:ext>
              </a:extLst>
            </p:cNvPr>
            <p:cNvSpPr/>
            <p:nvPr/>
          </p:nvSpPr>
          <p:spPr bwMode="gray">
            <a:xfrm>
              <a:off x="12420545" y="2542393"/>
              <a:ext cx="284385" cy="284385"/>
            </a:xfrm>
            <a:prstGeom prst="rect">
              <a:avLst/>
            </a:prstGeom>
            <a:solidFill>
              <a:srgbClr val="F0B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53A5E05-CA0D-FD47-B6FB-0313B6FA45CB}"/>
                </a:ext>
              </a:extLst>
            </p:cNvPr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F5B7A23-C0AD-0C46-B9E8-56BB5D6B4B1E}"/>
                </a:ext>
              </a:extLst>
            </p:cNvPr>
            <p:cNvSpPr/>
            <p:nvPr/>
          </p:nvSpPr>
          <p:spPr bwMode="gray">
            <a:xfrm>
              <a:off x="12420545" y="333901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1AFEC5DE-CB6C-C647-8341-9F4CCB3604C2}"/>
                </a:ext>
              </a:extLst>
            </p:cNvPr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00B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7F7BB72-875A-1646-83FF-2330D4F2757F}"/>
                </a:ext>
              </a:extLst>
            </p:cNvPr>
            <p:cNvSpPr/>
            <p:nvPr/>
          </p:nvSpPr>
          <p:spPr bwMode="gray">
            <a:xfrm>
              <a:off x="12420545" y="9374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23CEC7E-78B9-F849-974D-49F3C35523B3}"/>
                </a:ext>
              </a:extLst>
            </p:cNvPr>
            <p:cNvSpPr/>
            <p:nvPr/>
          </p:nvSpPr>
          <p:spPr bwMode="gray">
            <a:xfrm>
              <a:off x="12420545" y="1270313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2039186-6916-EA4B-A54A-5352060B8EDC}"/>
                </a:ext>
              </a:extLst>
            </p:cNvPr>
            <p:cNvSpPr/>
            <p:nvPr/>
          </p:nvSpPr>
          <p:spPr bwMode="gray">
            <a:xfrm>
              <a:off x="12422983" y="4081065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634EC6F6-FD63-094F-A436-5F3E083D7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414180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6B7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8E357138-4CE3-F545-89F7-057997079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737540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9CA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3FDE5E51-7250-2749-8A58-AF4EC3B6A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071139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ACED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0DBC29C7-FB5B-E54D-BD53-9DFBF63D7E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393846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95F2735-4043-AE4C-9D24-9F795E787A81}"/>
                </a:ext>
              </a:extLst>
            </p:cNvPr>
            <p:cNvSpPr/>
            <p:nvPr/>
          </p:nvSpPr>
          <p:spPr bwMode="gray">
            <a:xfrm>
              <a:off x="12420545" y="3478023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946B835A-A919-4A1C-AB60-16C0387EBA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0222" y="0"/>
            <a:ext cx="5042263" cy="6374674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725926F2-8AD5-48B2-9380-DE76D1DD1E26}"/>
              </a:ext>
            </a:extLst>
          </p:cNvPr>
          <p:cNvSpPr txBox="1"/>
          <p:nvPr userDrawn="1"/>
        </p:nvSpPr>
        <p:spPr bwMode="black">
          <a:xfrm>
            <a:off x="1075693" y="6520894"/>
            <a:ext cx="6577442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9 IQVIA. All rights reserved. 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QVIA</a:t>
            </a:r>
            <a:r>
              <a:rPr lang="en-US" sz="8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a registered trademark of IQVIA Inc. in the United States and various other countries.</a:t>
            </a:r>
          </a:p>
        </p:txBody>
      </p:sp>
      <p:sp>
        <p:nvSpPr>
          <p:cNvPr id="31" name="Rectangle 58">
            <a:extLst>
              <a:ext uri="{FF2B5EF4-FFF2-40B4-BE49-F238E27FC236}">
                <a16:creationId xmlns:a16="http://schemas.microsoft.com/office/drawing/2014/main" id="{992923E4-BE09-024A-AB59-8AFDAC4393F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27" name="Picture 26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87BB928E-923E-412D-904B-20A2EFFFF65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60344" y="456961"/>
            <a:ext cx="2285541" cy="62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833568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58">
            <a:extLst>
              <a:ext uri="{FF2B5EF4-FFF2-40B4-BE49-F238E27FC236}">
                <a16:creationId xmlns:a16="http://schemas.microsoft.com/office/drawing/2014/main" id="{992923E4-BE09-024A-AB59-8AFDAC4393F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34" name="Rectangle 58">
            <a:extLst>
              <a:ext uri="{FF2B5EF4-FFF2-40B4-BE49-F238E27FC236}">
                <a16:creationId xmlns:a16="http://schemas.microsoft.com/office/drawing/2014/main" id="{8043E545-41FB-3D4C-AAEB-1BAF2E3C494A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-424816" y="5485533"/>
            <a:ext cx="2568634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2338C86F-5202-4746-808B-D858A32D502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29" r="949" b="-1"/>
          <a:stretch/>
        </p:blipFill>
        <p:spPr>
          <a:xfrm>
            <a:off x="0" y="235131"/>
            <a:ext cx="6629400" cy="6622868"/>
          </a:xfrm>
          <a:prstGeom prst="rect">
            <a:avLst/>
          </a:prstGeom>
        </p:spPr>
      </p:pic>
      <p:sp>
        <p:nvSpPr>
          <p:cNvPr id="32" name="Rectangle 58">
            <a:extLst>
              <a:ext uri="{FF2B5EF4-FFF2-40B4-BE49-F238E27FC236}">
                <a16:creationId xmlns:a16="http://schemas.microsoft.com/office/drawing/2014/main" id="{955E76C3-3D39-2848-A6DD-056B1D6FA71D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-1131228" y="2731250"/>
            <a:ext cx="3981453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9" y="771348"/>
            <a:ext cx="68580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B93156B-5EAC-8040-A2F8-D2A2FDF8D824}"/>
              </a:ext>
            </a:extLst>
          </p:cNvPr>
          <p:cNvSpPr txBox="1"/>
          <p:nvPr/>
        </p:nvSpPr>
        <p:spPr bwMode="black">
          <a:xfrm>
            <a:off x="2248001" y="6520894"/>
            <a:ext cx="6577442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9 IQVIA. All rights reserved. 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QVIA</a:t>
            </a:r>
            <a:r>
              <a:rPr lang="en-US" sz="8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a registered trademark of IQVIA Inc. in the United States and various other countries.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2D5DE5F-71DB-8949-A182-9A1FAE13EB25}"/>
              </a:ext>
            </a:extLst>
          </p:cNvPr>
          <p:cNvGrpSpPr/>
          <p:nvPr/>
        </p:nvGrpSpPr>
        <p:grpSpPr>
          <a:xfrm>
            <a:off x="12420545" y="0"/>
            <a:ext cx="286823" cy="5681184"/>
            <a:chOff x="12420545" y="0"/>
            <a:chExt cx="286823" cy="5681184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79BA8DA8-DE3F-4048-B5D5-A5BD0B51822B}"/>
                </a:ext>
              </a:extLst>
            </p:cNvPr>
            <p:cNvSpPr/>
            <p:nvPr/>
          </p:nvSpPr>
          <p:spPr bwMode="gray">
            <a:xfrm>
              <a:off x="12420545" y="3146922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BB9A63A3-E120-A148-B4F0-F08987D8383C}"/>
                </a:ext>
              </a:extLst>
            </p:cNvPr>
            <p:cNvSpPr/>
            <p:nvPr/>
          </p:nvSpPr>
          <p:spPr bwMode="gray">
            <a:xfrm>
              <a:off x="12420545" y="22078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59096F0-ACF6-DC45-B17E-6746172D734C}"/>
                </a:ext>
              </a:extLst>
            </p:cNvPr>
            <p:cNvSpPr/>
            <p:nvPr/>
          </p:nvSpPr>
          <p:spPr bwMode="gray">
            <a:xfrm>
              <a:off x="12420545" y="2542393"/>
              <a:ext cx="284385" cy="284385"/>
            </a:xfrm>
            <a:prstGeom prst="rect">
              <a:avLst/>
            </a:prstGeom>
            <a:solidFill>
              <a:srgbClr val="F0B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53A5E05-CA0D-FD47-B6FB-0313B6FA45CB}"/>
                </a:ext>
              </a:extLst>
            </p:cNvPr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F5B7A23-C0AD-0C46-B9E8-56BB5D6B4B1E}"/>
                </a:ext>
              </a:extLst>
            </p:cNvPr>
            <p:cNvSpPr/>
            <p:nvPr/>
          </p:nvSpPr>
          <p:spPr bwMode="gray">
            <a:xfrm>
              <a:off x="12420545" y="333901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1AFEC5DE-CB6C-C647-8341-9F4CCB3604C2}"/>
                </a:ext>
              </a:extLst>
            </p:cNvPr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00B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7F7BB72-875A-1646-83FF-2330D4F2757F}"/>
                </a:ext>
              </a:extLst>
            </p:cNvPr>
            <p:cNvSpPr/>
            <p:nvPr/>
          </p:nvSpPr>
          <p:spPr bwMode="gray">
            <a:xfrm>
              <a:off x="12420545" y="9374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523CEC7E-78B9-F849-974D-49F3C35523B3}"/>
                </a:ext>
              </a:extLst>
            </p:cNvPr>
            <p:cNvSpPr/>
            <p:nvPr/>
          </p:nvSpPr>
          <p:spPr bwMode="gray">
            <a:xfrm>
              <a:off x="12420545" y="1270313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32039186-6916-EA4B-A54A-5352060B8EDC}"/>
                </a:ext>
              </a:extLst>
            </p:cNvPr>
            <p:cNvSpPr/>
            <p:nvPr/>
          </p:nvSpPr>
          <p:spPr bwMode="gray">
            <a:xfrm>
              <a:off x="12422983" y="4081065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634EC6F6-FD63-094F-A436-5F3E083D7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414180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6B7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8E357138-4CE3-F545-89F7-057997079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737540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9CA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3FDE5E51-7250-2749-8A58-AF4EC3B6A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071139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ACED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0DBC29C7-FB5B-E54D-BD53-9DFBF63D7E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393846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B95F2735-4043-AE4C-9D24-9F795E787A81}"/>
                </a:ext>
              </a:extLst>
            </p:cNvPr>
            <p:cNvSpPr/>
            <p:nvPr/>
          </p:nvSpPr>
          <p:spPr bwMode="gray">
            <a:xfrm>
              <a:off x="12420545" y="3478023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7" name="Picture 26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F0DDF572-7065-4053-A527-8057FAAF7C1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860344" y="456961"/>
            <a:ext cx="2285541" cy="621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28077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12F5567-1118-48BB-8F06-58FAC79675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2811" y="6402112"/>
            <a:ext cx="1359865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9103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11338560" cy="4450195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67E7D25-C2BC-4D86-BA2E-A1C5D454EC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2811" y="6402112"/>
            <a:ext cx="1359865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257940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9"/>
            <a:ext cx="3764662" cy="4276468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7492481" cy="4450196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B33F968-F594-4C1E-8363-89E2B07DCC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2811" y="6402112"/>
            <a:ext cx="1359865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17210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7492481" cy="4450196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276468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583681C-8699-4B70-94A5-A4C4817BB7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2811" y="6402112"/>
            <a:ext cx="1359865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54667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7492481" cy="4450196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276469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8A6598C-2CEF-456C-9AC5-A00E242777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12811" y="6402112"/>
            <a:ext cx="1359865" cy="23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527247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78894B8-D26D-784B-9A2D-8BA77A511B8E}"/>
              </a:ext>
            </a:extLst>
          </p:cNvPr>
          <p:cNvGrpSpPr/>
          <p:nvPr userDrawn="1"/>
        </p:nvGrpSpPr>
        <p:grpSpPr>
          <a:xfrm>
            <a:off x="12420545" y="0"/>
            <a:ext cx="286823" cy="5681184"/>
            <a:chOff x="12420545" y="0"/>
            <a:chExt cx="286823" cy="5681184"/>
          </a:xfrm>
        </p:grpSpPr>
        <p:sp>
          <p:nvSpPr>
            <p:cNvPr id="35" name="Rectangle 34"/>
            <p:cNvSpPr/>
            <p:nvPr/>
          </p:nvSpPr>
          <p:spPr bwMode="gray">
            <a:xfrm>
              <a:off x="12420545" y="3146922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12420545" y="22078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12420545" y="2542393"/>
              <a:ext cx="284385" cy="284385"/>
            </a:xfrm>
            <a:prstGeom prst="rect">
              <a:avLst/>
            </a:prstGeom>
            <a:solidFill>
              <a:srgbClr val="F0B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/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12420545" y="333901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00B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2420545" y="9374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2420545" y="1270313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12422983" y="4081065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Freeform 14">
              <a:extLst>
                <a:ext uri="{FF2B5EF4-FFF2-40B4-BE49-F238E27FC236}">
                  <a16:creationId xmlns:a16="http://schemas.microsoft.com/office/drawing/2014/main" id="{A7F0CCA1-1BDC-6D43-89F6-11113CF562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21466" y="4414180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6B7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5">
              <a:extLst>
                <a:ext uri="{FF2B5EF4-FFF2-40B4-BE49-F238E27FC236}">
                  <a16:creationId xmlns:a16="http://schemas.microsoft.com/office/drawing/2014/main" id="{E2BB2394-A9D6-454D-88E4-2A451A6EC6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21466" y="4737540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9CA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6">
              <a:extLst>
                <a:ext uri="{FF2B5EF4-FFF2-40B4-BE49-F238E27FC236}">
                  <a16:creationId xmlns:a16="http://schemas.microsoft.com/office/drawing/2014/main" id="{5DACD99F-8995-A248-B782-7676B99702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21466" y="5071139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ACED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7">
              <a:extLst>
                <a:ext uri="{FF2B5EF4-FFF2-40B4-BE49-F238E27FC236}">
                  <a16:creationId xmlns:a16="http://schemas.microsoft.com/office/drawing/2014/main" id="{CA758B28-CC3F-4A41-A5E7-4A74934E67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21466" y="5393846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32D86985-318E-0B4D-B203-342D281E3150}"/>
                </a:ext>
              </a:extLst>
            </p:cNvPr>
            <p:cNvSpPr/>
            <p:nvPr userDrawn="1"/>
          </p:nvSpPr>
          <p:spPr bwMode="gray">
            <a:xfrm>
              <a:off x="12420545" y="3478023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5659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72" r:id="rId2"/>
    <p:sldLayoutId id="2147483870" r:id="rId3"/>
    <p:sldLayoutId id="2147483871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  <p:sldLayoutId id="2147483863" r:id="rId15"/>
    <p:sldLayoutId id="2147483864" r:id="rId16"/>
    <p:sldLayoutId id="2147483865" r:id="rId17"/>
    <p:sldLayoutId id="2147483866" r:id="rId18"/>
    <p:sldLayoutId id="2147483867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1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kt 39" hidden="1">
            <a:extLst>
              <a:ext uri="{FF2B5EF4-FFF2-40B4-BE49-F238E27FC236}">
                <a16:creationId xmlns:a16="http://schemas.microsoft.com/office/drawing/2014/main" id="{8B7BE153-D8C7-4C1A-89FE-D01E33662B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222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Folie" r:id="rId5" imgW="347" imgH="346" progId="TCLayout.ActiveDocument.1">
                  <p:embed/>
                </p:oleObj>
              </mc:Choice>
              <mc:Fallback>
                <p:oleObj name="think-cell Folie" r:id="rId5" imgW="347" imgH="346" progId="TCLayout.ActiveDocument.1">
                  <p:embed/>
                  <p:pic>
                    <p:nvPicPr>
                      <p:cNvPr id="40" name="Objekt 39" hidden="1">
                        <a:extLst>
                          <a:ext uri="{FF2B5EF4-FFF2-40B4-BE49-F238E27FC236}">
                            <a16:creationId xmlns:a16="http://schemas.microsoft.com/office/drawing/2014/main" id="{8B7BE153-D8C7-4C1A-89FE-D01E33662B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chteck 38" hidden="1">
            <a:extLst>
              <a:ext uri="{FF2B5EF4-FFF2-40B4-BE49-F238E27FC236}">
                <a16:creationId xmlns:a16="http://schemas.microsoft.com/office/drawing/2014/main" id="{50672C2B-EFD8-43C3-80F2-375CBE8F9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endParaRPr lang="en-GB" sz="20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id="{4BF6E8B1-FE1E-4ECC-885E-8C1B9CAF7253}"/>
              </a:ext>
            </a:extLst>
          </p:cNvPr>
          <p:cNvSpPr/>
          <p:nvPr/>
        </p:nvSpPr>
        <p:spPr bwMode="ltGray">
          <a:xfrm flipV="1">
            <a:off x="3503712" y="4672444"/>
            <a:ext cx="1595592" cy="438733"/>
          </a:xfrm>
          <a:custGeom>
            <a:avLst/>
            <a:gdLst>
              <a:gd name="connsiteX0" fmla="*/ 1249135 w 1249135"/>
              <a:gd name="connsiteY0" fmla="*/ 0 h 367393"/>
              <a:gd name="connsiteX1" fmla="*/ 326571 w 1249135"/>
              <a:gd name="connsiteY1" fmla="*/ 0 h 367393"/>
              <a:gd name="connsiteX2" fmla="*/ 0 w 1249135"/>
              <a:gd name="connsiteY2" fmla="*/ 367393 h 367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9135" h="367393">
                <a:moveTo>
                  <a:pt x="1249135" y="0"/>
                </a:moveTo>
                <a:lnTo>
                  <a:pt x="326571" y="0"/>
                </a:lnTo>
                <a:lnTo>
                  <a:pt x="0" y="367393"/>
                </a:lnTo>
              </a:path>
            </a:pathLst>
          </a:custGeom>
          <a:noFill/>
          <a:ln w="19050">
            <a:solidFill>
              <a:schemeClr val="accent3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3" name="Straight Connector 32">
            <a:extLst>
              <a:ext uri="{FF2B5EF4-FFF2-40B4-BE49-F238E27FC236}">
                <a16:creationId xmlns:a16="http://schemas.microsoft.com/office/drawing/2014/main" id="{D9215004-8AF9-45A8-812B-C48259D463C8}"/>
              </a:ext>
            </a:extLst>
          </p:cNvPr>
          <p:cNvCxnSpPr/>
          <p:nvPr/>
        </p:nvCxnSpPr>
        <p:spPr bwMode="auto">
          <a:xfrm>
            <a:off x="3824106" y="3860625"/>
            <a:ext cx="903742" cy="1018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Freeform 27">
            <a:extLst>
              <a:ext uri="{FF2B5EF4-FFF2-40B4-BE49-F238E27FC236}">
                <a16:creationId xmlns:a16="http://schemas.microsoft.com/office/drawing/2014/main" id="{8B574BC1-D171-4197-848E-CFCF439793E4}"/>
              </a:ext>
            </a:extLst>
          </p:cNvPr>
          <p:cNvSpPr/>
          <p:nvPr/>
        </p:nvSpPr>
        <p:spPr bwMode="ltGray">
          <a:xfrm>
            <a:off x="3414484" y="2649848"/>
            <a:ext cx="1335975" cy="334585"/>
          </a:xfrm>
          <a:custGeom>
            <a:avLst/>
            <a:gdLst>
              <a:gd name="connsiteX0" fmla="*/ 1249135 w 1249135"/>
              <a:gd name="connsiteY0" fmla="*/ 0 h 367393"/>
              <a:gd name="connsiteX1" fmla="*/ 326571 w 1249135"/>
              <a:gd name="connsiteY1" fmla="*/ 0 h 367393"/>
              <a:gd name="connsiteX2" fmla="*/ 0 w 1249135"/>
              <a:gd name="connsiteY2" fmla="*/ 367393 h 3673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49135" h="367393">
                <a:moveTo>
                  <a:pt x="1249135" y="0"/>
                </a:moveTo>
                <a:lnTo>
                  <a:pt x="326571" y="0"/>
                </a:lnTo>
                <a:lnTo>
                  <a:pt x="0" y="367393"/>
                </a:lnTo>
              </a:path>
            </a:pathLst>
          </a:custGeom>
          <a:noFill/>
          <a:ln w="19050"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10C5C30-0C2E-41A7-BAAD-36DE9746F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 err="1"/>
              <a:t>Abbildung</a:t>
            </a:r>
            <a:r>
              <a:rPr lang="en-GB" sz="2000" dirty="0"/>
              <a:t> 1: KI-Analyse – Alter und </a:t>
            </a:r>
            <a:r>
              <a:rPr lang="en-GB" sz="2000" dirty="0" err="1"/>
              <a:t>Komorbidität</a:t>
            </a:r>
            <a:r>
              <a:rPr lang="en-GB" sz="2000" dirty="0"/>
              <a:t> </a:t>
            </a:r>
            <a:r>
              <a:rPr lang="en-GB" sz="2000" dirty="0" err="1"/>
              <a:t>als</a:t>
            </a:r>
            <a:r>
              <a:rPr lang="en-GB" sz="2000" dirty="0"/>
              <a:t> </a:t>
            </a:r>
            <a:r>
              <a:rPr lang="en-GB" sz="2000" dirty="0" err="1"/>
              <a:t>wesentliche</a:t>
            </a:r>
            <a:r>
              <a:rPr lang="en-GB" sz="2000" dirty="0"/>
              <a:t> </a:t>
            </a:r>
            <a:r>
              <a:rPr lang="en-GB" sz="2000" dirty="0" err="1"/>
              <a:t>Einflussfaktoren</a:t>
            </a:r>
            <a:r>
              <a:rPr lang="en-GB" sz="2000" dirty="0"/>
              <a:t> </a:t>
            </a:r>
            <a:r>
              <a:rPr lang="en-GB" sz="2000" dirty="0" err="1"/>
              <a:t>für</a:t>
            </a:r>
            <a:r>
              <a:rPr lang="en-GB" sz="2000" dirty="0"/>
              <a:t> den </a:t>
            </a:r>
            <a:r>
              <a:rPr lang="en-GB" sz="2000" dirty="0" err="1"/>
              <a:t>Krankheitsverlauf</a:t>
            </a:r>
            <a:r>
              <a:rPr lang="en-GB" sz="2000" dirty="0"/>
              <a:t> </a:t>
            </a:r>
            <a:r>
              <a:rPr lang="en-GB" sz="2000" dirty="0" err="1"/>
              <a:t>bei</a:t>
            </a:r>
            <a:r>
              <a:rPr lang="en-GB" sz="2000" dirty="0"/>
              <a:t> </a:t>
            </a:r>
            <a:r>
              <a:rPr lang="en-GB" sz="2000" dirty="0" err="1"/>
              <a:t>Arthrose</a:t>
            </a:r>
            <a:r>
              <a:rPr lang="en-GB" sz="2000" dirty="0"/>
              <a:t> </a:t>
            </a:r>
            <a:r>
              <a:rPr lang="en-GB" sz="2000" dirty="0" err="1"/>
              <a:t>mit</a:t>
            </a:r>
            <a:r>
              <a:rPr lang="en-GB" sz="2000" dirty="0"/>
              <a:t> </a:t>
            </a:r>
            <a:r>
              <a:rPr lang="en-GB" sz="2000" dirty="0" err="1"/>
              <a:t>schneller</a:t>
            </a:r>
            <a:r>
              <a:rPr lang="en-GB" sz="2000" dirty="0"/>
              <a:t> Progression  </a:t>
            </a:r>
            <a:endParaRPr lang="en-US" sz="200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9E9D225-D8CD-4290-BDE5-3937FFA41B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© 2019 IQVIA Commercial GmbH &amp; Co. OHG</a:t>
            </a:r>
            <a:endParaRPr lang="en-US" dirty="0"/>
          </a:p>
        </p:txBody>
      </p:sp>
      <p:sp>
        <p:nvSpPr>
          <p:cNvPr id="8" name="Oval 47">
            <a:extLst>
              <a:ext uri="{FF2B5EF4-FFF2-40B4-BE49-F238E27FC236}">
                <a16:creationId xmlns:a16="http://schemas.microsoft.com/office/drawing/2014/main" id="{0496D0A1-AD63-4DAD-ACAD-B13299A21381}"/>
              </a:ext>
            </a:extLst>
          </p:cNvPr>
          <p:cNvSpPr/>
          <p:nvPr/>
        </p:nvSpPr>
        <p:spPr bwMode="ltGray">
          <a:xfrm>
            <a:off x="2299643" y="2663169"/>
            <a:ext cx="1434428" cy="2614772"/>
          </a:xfrm>
          <a:custGeom>
            <a:avLst/>
            <a:gdLst>
              <a:gd name="connsiteX0" fmla="*/ 0 w 2847542"/>
              <a:gd name="connsiteY0" fmla="*/ 1423771 h 2847542"/>
              <a:gd name="connsiteX1" fmla="*/ 1423771 w 2847542"/>
              <a:gd name="connsiteY1" fmla="*/ 0 h 2847542"/>
              <a:gd name="connsiteX2" fmla="*/ 2847542 w 2847542"/>
              <a:gd name="connsiteY2" fmla="*/ 1423771 h 2847542"/>
              <a:gd name="connsiteX3" fmla="*/ 1423771 w 2847542"/>
              <a:gd name="connsiteY3" fmla="*/ 2847542 h 2847542"/>
              <a:gd name="connsiteX4" fmla="*/ 0 w 2847542"/>
              <a:gd name="connsiteY4" fmla="*/ 1423771 h 2847542"/>
              <a:gd name="connsiteX0" fmla="*/ 1423771 w 2847542"/>
              <a:gd name="connsiteY0" fmla="*/ 0 h 2847542"/>
              <a:gd name="connsiteX1" fmla="*/ 2847542 w 2847542"/>
              <a:gd name="connsiteY1" fmla="*/ 1423771 h 2847542"/>
              <a:gd name="connsiteX2" fmla="*/ 1423771 w 2847542"/>
              <a:gd name="connsiteY2" fmla="*/ 2847542 h 2847542"/>
              <a:gd name="connsiteX3" fmla="*/ 0 w 2847542"/>
              <a:gd name="connsiteY3" fmla="*/ 1423771 h 2847542"/>
              <a:gd name="connsiteX0" fmla="*/ 0 w 1423771"/>
              <a:gd name="connsiteY0" fmla="*/ 0 h 2847542"/>
              <a:gd name="connsiteX1" fmla="*/ 1423771 w 1423771"/>
              <a:gd name="connsiteY1" fmla="*/ 1423771 h 2847542"/>
              <a:gd name="connsiteX2" fmla="*/ 0 w 1423771"/>
              <a:gd name="connsiteY2" fmla="*/ 2847542 h 2847542"/>
              <a:gd name="connsiteX3" fmla="*/ 0 w 1423771"/>
              <a:gd name="connsiteY3" fmla="*/ 0 h 2847542"/>
              <a:gd name="connsiteX0" fmla="*/ 167932 w 1591703"/>
              <a:gd name="connsiteY0" fmla="*/ 0 h 2847542"/>
              <a:gd name="connsiteX1" fmla="*/ 1591703 w 1591703"/>
              <a:gd name="connsiteY1" fmla="*/ 1423771 h 2847542"/>
              <a:gd name="connsiteX2" fmla="*/ 167932 w 1591703"/>
              <a:gd name="connsiteY2" fmla="*/ 2847542 h 2847542"/>
              <a:gd name="connsiteX3" fmla="*/ 259372 w 1591703"/>
              <a:gd name="connsiteY3" fmla="*/ 91440 h 2847542"/>
              <a:gd name="connsiteX0" fmla="*/ 0 w 1423771"/>
              <a:gd name="connsiteY0" fmla="*/ 0 h 2847542"/>
              <a:gd name="connsiteX1" fmla="*/ 1423771 w 1423771"/>
              <a:gd name="connsiteY1" fmla="*/ 1423771 h 2847542"/>
              <a:gd name="connsiteX2" fmla="*/ 0 w 1423771"/>
              <a:gd name="connsiteY2" fmla="*/ 2847542 h 2847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23771" h="2847542">
                <a:moveTo>
                  <a:pt x="0" y="0"/>
                </a:moveTo>
                <a:cubicBezTo>
                  <a:pt x="786327" y="0"/>
                  <a:pt x="1423771" y="637444"/>
                  <a:pt x="1423771" y="1423771"/>
                </a:cubicBezTo>
                <a:cubicBezTo>
                  <a:pt x="1423771" y="2210098"/>
                  <a:pt x="786327" y="2847542"/>
                  <a:pt x="0" y="2847542"/>
                </a:cubicBezTo>
              </a:path>
            </a:pathLst>
          </a:cu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0" name="TextBox 27">
            <a:extLst>
              <a:ext uri="{FF2B5EF4-FFF2-40B4-BE49-F238E27FC236}">
                <a16:creationId xmlns:a16="http://schemas.microsoft.com/office/drawing/2014/main" id="{90A42FBA-778A-46A3-955F-A2EC2E286672}"/>
              </a:ext>
            </a:extLst>
          </p:cNvPr>
          <p:cNvSpPr txBox="1"/>
          <p:nvPr/>
        </p:nvSpPr>
        <p:spPr>
          <a:xfrm>
            <a:off x="5813612" y="4833873"/>
            <a:ext cx="514045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Arzneimitteltherapie: Analgetika, niedrig- und hochpotente Opioide, NSAID*</a:t>
            </a:r>
          </a:p>
        </p:txBody>
      </p:sp>
      <p:sp>
        <p:nvSpPr>
          <p:cNvPr id="11" name="TextBox 28">
            <a:extLst>
              <a:ext uri="{FF2B5EF4-FFF2-40B4-BE49-F238E27FC236}">
                <a16:creationId xmlns:a16="http://schemas.microsoft.com/office/drawing/2014/main" id="{C669BAF2-6287-4AB5-9664-A2816ECCB18A}"/>
              </a:ext>
            </a:extLst>
          </p:cNvPr>
          <p:cNvSpPr txBox="1"/>
          <p:nvPr/>
        </p:nvSpPr>
        <p:spPr>
          <a:xfrm>
            <a:off x="5813612" y="2370437"/>
            <a:ext cx="512273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Patientenmerkmale: Alter bei der Erstdiagnose von Arthrose</a:t>
            </a:r>
          </a:p>
        </p:txBody>
      </p:sp>
      <p:sp>
        <p:nvSpPr>
          <p:cNvPr id="12" name="Oval 31">
            <a:extLst>
              <a:ext uri="{FF2B5EF4-FFF2-40B4-BE49-F238E27FC236}">
                <a16:creationId xmlns:a16="http://schemas.microsoft.com/office/drawing/2014/main" id="{64D8E15D-D49B-47A3-9779-861BD3C39BEE}"/>
              </a:ext>
            </a:extLst>
          </p:cNvPr>
          <p:cNvSpPr/>
          <p:nvPr/>
        </p:nvSpPr>
        <p:spPr bwMode="ltGray">
          <a:xfrm>
            <a:off x="3631702" y="3750692"/>
            <a:ext cx="210761" cy="21986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4" name="TextBox 33">
            <a:extLst>
              <a:ext uri="{FF2B5EF4-FFF2-40B4-BE49-F238E27FC236}">
                <a16:creationId xmlns:a16="http://schemas.microsoft.com/office/drawing/2014/main" id="{B8B33826-21CE-49F0-8E91-AEB48665A9CD}"/>
              </a:ext>
            </a:extLst>
          </p:cNvPr>
          <p:cNvSpPr txBox="1"/>
          <p:nvPr/>
        </p:nvSpPr>
        <p:spPr>
          <a:xfrm>
            <a:off x="5813612" y="3409837"/>
            <a:ext cx="5322948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dirty="0"/>
              <a:t>Multimorbidität:  Anzahl verschiedener Co-Diagnosen aus den Bereichen Urogenital- und Kreislaufsystem sowie Infektionskrankheiten</a:t>
            </a:r>
          </a:p>
        </p:txBody>
      </p:sp>
      <p:grpSp>
        <p:nvGrpSpPr>
          <p:cNvPr id="16" name="Group 7">
            <a:extLst>
              <a:ext uri="{FF2B5EF4-FFF2-40B4-BE49-F238E27FC236}">
                <a16:creationId xmlns:a16="http://schemas.microsoft.com/office/drawing/2014/main" id="{DDF1379B-6D8A-485E-AD23-1DB88203D8D2}"/>
              </a:ext>
            </a:extLst>
          </p:cNvPr>
          <p:cNvGrpSpPr/>
          <p:nvPr/>
        </p:nvGrpSpPr>
        <p:grpSpPr>
          <a:xfrm>
            <a:off x="4597996" y="4653136"/>
            <a:ext cx="1017995" cy="915472"/>
            <a:chOff x="5732068" y="4853983"/>
            <a:chExt cx="511811" cy="441216"/>
          </a:xfrm>
        </p:grpSpPr>
        <p:sp>
          <p:nvSpPr>
            <p:cNvPr id="35" name="Hexagon 60">
              <a:extLst>
                <a:ext uri="{FF2B5EF4-FFF2-40B4-BE49-F238E27FC236}">
                  <a16:creationId xmlns:a16="http://schemas.microsoft.com/office/drawing/2014/main" id="{C4FC170B-1AEF-4BD7-BCD1-4A756A69DA9C}"/>
                </a:ext>
              </a:extLst>
            </p:cNvPr>
            <p:cNvSpPr/>
            <p:nvPr/>
          </p:nvSpPr>
          <p:spPr bwMode="ltGray">
            <a:xfrm>
              <a:off x="5732068" y="4853983"/>
              <a:ext cx="511811" cy="441216"/>
            </a:xfrm>
            <a:prstGeom prst="hexagon">
              <a:avLst/>
            </a:prstGeom>
            <a:solidFill>
              <a:schemeClr val="accent3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36" name="Freeform 54">
              <a:extLst>
                <a:ext uri="{FF2B5EF4-FFF2-40B4-BE49-F238E27FC236}">
                  <a16:creationId xmlns:a16="http://schemas.microsoft.com/office/drawing/2014/main" id="{FDC8551F-A8E1-4C28-8D82-8349FC1945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78172" y="4888688"/>
              <a:ext cx="294694" cy="373865"/>
            </a:xfrm>
            <a:custGeom>
              <a:avLst/>
              <a:gdLst>
                <a:gd name="T0" fmla="*/ 251 w 251"/>
                <a:gd name="T1" fmla="*/ 80 h 320"/>
                <a:gd name="T2" fmla="*/ 201 w 251"/>
                <a:gd name="T3" fmla="*/ 132 h 320"/>
                <a:gd name="T4" fmla="*/ 197 w 251"/>
                <a:gd name="T5" fmla="*/ 131 h 320"/>
                <a:gd name="T6" fmla="*/ 183 w 251"/>
                <a:gd name="T7" fmla="*/ 140 h 320"/>
                <a:gd name="T8" fmla="*/ 183 w 251"/>
                <a:gd name="T9" fmla="*/ 140 h 320"/>
                <a:gd name="T10" fmla="*/ 158 w 251"/>
                <a:gd name="T11" fmla="*/ 155 h 320"/>
                <a:gd name="T12" fmla="*/ 152 w 251"/>
                <a:gd name="T13" fmla="*/ 109 h 320"/>
                <a:gd name="T14" fmla="*/ 122 w 251"/>
                <a:gd name="T15" fmla="*/ 94 h 320"/>
                <a:gd name="T16" fmla="*/ 129 w 251"/>
                <a:gd name="T17" fmla="*/ 90 h 320"/>
                <a:gd name="T18" fmla="*/ 138 w 251"/>
                <a:gd name="T19" fmla="*/ 8 h 320"/>
                <a:gd name="T20" fmla="*/ 15 w 251"/>
                <a:gd name="T21" fmla="*/ 8 h 320"/>
                <a:gd name="T22" fmla="*/ 24 w 251"/>
                <a:gd name="T23" fmla="*/ 90 h 320"/>
                <a:gd name="T24" fmla="*/ 29 w 251"/>
                <a:gd name="T25" fmla="*/ 94 h 320"/>
                <a:gd name="T26" fmla="*/ 0 w 251"/>
                <a:gd name="T27" fmla="*/ 109 h 320"/>
                <a:gd name="T28" fmla="*/ 74 w 251"/>
                <a:gd name="T29" fmla="*/ 246 h 320"/>
                <a:gd name="T30" fmla="*/ 66 w 251"/>
                <a:gd name="T31" fmla="*/ 266 h 320"/>
                <a:gd name="T32" fmla="*/ 50 w 251"/>
                <a:gd name="T33" fmla="*/ 261 h 320"/>
                <a:gd name="T34" fmla="*/ 54 w 251"/>
                <a:gd name="T35" fmla="*/ 295 h 320"/>
                <a:gd name="T36" fmla="*/ 42 w 251"/>
                <a:gd name="T37" fmla="*/ 291 h 320"/>
                <a:gd name="T38" fmla="*/ 76 w 251"/>
                <a:gd name="T39" fmla="*/ 320 h 320"/>
                <a:gd name="T40" fmla="*/ 70 w 251"/>
                <a:gd name="T41" fmla="*/ 309 h 320"/>
                <a:gd name="T42" fmla="*/ 104 w 251"/>
                <a:gd name="T43" fmla="*/ 307 h 320"/>
                <a:gd name="T44" fmla="*/ 97 w 251"/>
                <a:gd name="T45" fmla="*/ 291 h 320"/>
                <a:gd name="T46" fmla="*/ 152 w 251"/>
                <a:gd name="T47" fmla="*/ 225 h 320"/>
                <a:gd name="T48" fmla="*/ 186 w 251"/>
                <a:gd name="T49" fmla="*/ 170 h 320"/>
                <a:gd name="T50" fmla="*/ 199 w 251"/>
                <a:gd name="T51" fmla="*/ 154 h 320"/>
                <a:gd name="T52" fmla="*/ 198 w 251"/>
                <a:gd name="T53" fmla="*/ 148 h 320"/>
                <a:gd name="T54" fmla="*/ 206 w 251"/>
                <a:gd name="T55" fmla="*/ 139 h 320"/>
                <a:gd name="T56" fmla="*/ 205 w 251"/>
                <a:gd name="T57" fmla="*/ 135 h 320"/>
                <a:gd name="T58" fmla="*/ 9 w 251"/>
                <a:gd name="T59" fmla="*/ 210 h 320"/>
                <a:gd name="T60" fmla="*/ 23 w 251"/>
                <a:gd name="T61" fmla="*/ 116 h 320"/>
                <a:gd name="T62" fmla="*/ 144 w 251"/>
                <a:gd name="T63" fmla="*/ 122 h 320"/>
                <a:gd name="T64" fmla="*/ 99 w 251"/>
                <a:gd name="T65" fmla="*/ 226 h 320"/>
                <a:gd name="T66" fmla="*/ 144 w 251"/>
                <a:gd name="T67" fmla="*/ 227 h 320"/>
                <a:gd name="T68" fmla="*/ 160 w 251"/>
                <a:gd name="T69" fmla="*/ 161 h 320"/>
                <a:gd name="T70" fmla="*/ 183 w 251"/>
                <a:gd name="T71" fmla="*/ 18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51" h="320">
                  <a:moveTo>
                    <a:pt x="205" y="135"/>
                  </a:moveTo>
                  <a:cubicBezTo>
                    <a:pt x="251" y="80"/>
                    <a:pt x="251" y="80"/>
                    <a:pt x="251" y="80"/>
                  </a:cubicBezTo>
                  <a:cubicBezTo>
                    <a:pt x="241" y="83"/>
                    <a:pt x="241" y="83"/>
                    <a:pt x="241" y="83"/>
                  </a:cubicBezTo>
                  <a:cubicBezTo>
                    <a:pt x="201" y="132"/>
                    <a:pt x="201" y="132"/>
                    <a:pt x="201" y="132"/>
                  </a:cubicBezTo>
                  <a:cubicBezTo>
                    <a:pt x="199" y="131"/>
                    <a:pt x="197" y="130"/>
                    <a:pt x="197" y="131"/>
                  </a:cubicBezTo>
                  <a:cubicBezTo>
                    <a:pt x="197" y="131"/>
                    <a:pt x="197" y="131"/>
                    <a:pt x="197" y="131"/>
                  </a:cubicBezTo>
                  <a:cubicBezTo>
                    <a:pt x="189" y="141"/>
                    <a:pt x="189" y="141"/>
                    <a:pt x="189" y="141"/>
                  </a:cubicBezTo>
                  <a:cubicBezTo>
                    <a:pt x="186" y="139"/>
                    <a:pt x="184" y="139"/>
                    <a:pt x="183" y="140"/>
                  </a:cubicBezTo>
                  <a:cubicBezTo>
                    <a:pt x="183" y="140"/>
                    <a:pt x="183" y="140"/>
                    <a:pt x="183" y="140"/>
                  </a:cubicBezTo>
                  <a:cubicBezTo>
                    <a:pt x="183" y="140"/>
                    <a:pt x="183" y="140"/>
                    <a:pt x="183" y="140"/>
                  </a:cubicBezTo>
                  <a:cubicBezTo>
                    <a:pt x="170" y="156"/>
                    <a:pt x="170" y="156"/>
                    <a:pt x="170" y="156"/>
                  </a:cubicBezTo>
                  <a:cubicBezTo>
                    <a:pt x="165" y="153"/>
                    <a:pt x="160" y="153"/>
                    <a:pt x="158" y="155"/>
                  </a:cubicBezTo>
                  <a:cubicBezTo>
                    <a:pt x="152" y="162"/>
                    <a:pt x="152" y="162"/>
                    <a:pt x="152" y="162"/>
                  </a:cubicBezTo>
                  <a:cubicBezTo>
                    <a:pt x="152" y="109"/>
                    <a:pt x="152" y="109"/>
                    <a:pt x="152" y="109"/>
                  </a:cubicBezTo>
                  <a:cubicBezTo>
                    <a:pt x="152" y="101"/>
                    <a:pt x="145" y="94"/>
                    <a:pt x="136" y="94"/>
                  </a:cubicBezTo>
                  <a:cubicBezTo>
                    <a:pt x="122" y="94"/>
                    <a:pt x="122" y="94"/>
                    <a:pt x="122" y="94"/>
                  </a:cubicBezTo>
                  <a:cubicBezTo>
                    <a:pt x="122" y="90"/>
                    <a:pt x="122" y="90"/>
                    <a:pt x="122" y="90"/>
                  </a:cubicBezTo>
                  <a:cubicBezTo>
                    <a:pt x="129" y="90"/>
                    <a:pt x="129" y="90"/>
                    <a:pt x="129" y="90"/>
                  </a:cubicBezTo>
                  <a:cubicBezTo>
                    <a:pt x="134" y="90"/>
                    <a:pt x="138" y="87"/>
                    <a:pt x="138" y="82"/>
                  </a:cubicBezTo>
                  <a:cubicBezTo>
                    <a:pt x="138" y="8"/>
                    <a:pt x="138" y="8"/>
                    <a:pt x="138" y="8"/>
                  </a:cubicBezTo>
                  <a:cubicBezTo>
                    <a:pt x="138" y="3"/>
                    <a:pt x="107" y="0"/>
                    <a:pt x="75" y="0"/>
                  </a:cubicBezTo>
                  <a:cubicBezTo>
                    <a:pt x="43" y="0"/>
                    <a:pt x="15" y="3"/>
                    <a:pt x="15" y="8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7"/>
                    <a:pt x="19" y="90"/>
                    <a:pt x="24" y="90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29" y="94"/>
                    <a:pt x="29" y="94"/>
                    <a:pt x="29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7" y="94"/>
                    <a:pt x="0" y="101"/>
                    <a:pt x="0" y="109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233"/>
                    <a:pt x="15" y="246"/>
                    <a:pt x="74" y="246"/>
                  </a:cubicBezTo>
                  <a:cubicBezTo>
                    <a:pt x="77" y="246"/>
                    <a:pt x="80" y="246"/>
                    <a:pt x="82" y="246"/>
                  </a:cubicBezTo>
                  <a:cubicBezTo>
                    <a:pt x="66" y="266"/>
                    <a:pt x="66" y="266"/>
                    <a:pt x="66" y="266"/>
                  </a:cubicBezTo>
                  <a:cubicBezTo>
                    <a:pt x="61" y="262"/>
                    <a:pt x="56" y="259"/>
                    <a:pt x="53" y="257"/>
                  </a:cubicBezTo>
                  <a:cubicBezTo>
                    <a:pt x="50" y="261"/>
                    <a:pt x="50" y="261"/>
                    <a:pt x="50" y="261"/>
                  </a:cubicBezTo>
                  <a:cubicBezTo>
                    <a:pt x="53" y="265"/>
                    <a:pt x="59" y="272"/>
                    <a:pt x="67" y="279"/>
                  </a:cubicBezTo>
                  <a:cubicBezTo>
                    <a:pt x="54" y="295"/>
                    <a:pt x="54" y="295"/>
                    <a:pt x="54" y="295"/>
                  </a:cubicBezTo>
                  <a:cubicBezTo>
                    <a:pt x="50" y="292"/>
                    <a:pt x="46" y="290"/>
                    <a:pt x="44" y="289"/>
                  </a:cubicBezTo>
                  <a:cubicBezTo>
                    <a:pt x="42" y="291"/>
                    <a:pt x="42" y="291"/>
                    <a:pt x="42" y="291"/>
                  </a:cubicBezTo>
                  <a:cubicBezTo>
                    <a:pt x="44" y="295"/>
                    <a:pt x="50" y="301"/>
                    <a:pt x="58" y="307"/>
                  </a:cubicBezTo>
                  <a:cubicBezTo>
                    <a:pt x="65" y="313"/>
                    <a:pt x="72" y="318"/>
                    <a:pt x="76" y="320"/>
                  </a:cubicBezTo>
                  <a:cubicBezTo>
                    <a:pt x="78" y="317"/>
                    <a:pt x="78" y="317"/>
                    <a:pt x="78" y="317"/>
                  </a:cubicBezTo>
                  <a:cubicBezTo>
                    <a:pt x="76" y="315"/>
                    <a:pt x="74" y="312"/>
                    <a:pt x="70" y="309"/>
                  </a:cubicBezTo>
                  <a:cubicBezTo>
                    <a:pt x="83" y="293"/>
                    <a:pt x="83" y="293"/>
                    <a:pt x="83" y="293"/>
                  </a:cubicBezTo>
                  <a:cubicBezTo>
                    <a:pt x="92" y="299"/>
                    <a:pt x="100" y="304"/>
                    <a:pt x="104" y="307"/>
                  </a:cubicBezTo>
                  <a:cubicBezTo>
                    <a:pt x="107" y="303"/>
                    <a:pt x="107" y="303"/>
                    <a:pt x="107" y="303"/>
                  </a:cubicBezTo>
                  <a:cubicBezTo>
                    <a:pt x="105" y="300"/>
                    <a:pt x="102" y="296"/>
                    <a:pt x="97" y="291"/>
                  </a:cubicBezTo>
                  <a:cubicBezTo>
                    <a:pt x="144" y="235"/>
                    <a:pt x="144" y="235"/>
                    <a:pt x="144" y="235"/>
                  </a:cubicBezTo>
                  <a:cubicBezTo>
                    <a:pt x="150" y="231"/>
                    <a:pt x="152" y="228"/>
                    <a:pt x="152" y="225"/>
                  </a:cubicBezTo>
                  <a:cubicBezTo>
                    <a:pt x="189" y="181"/>
                    <a:pt x="189" y="181"/>
                    <a:pt x="189" y="181"/>
                  </a:cubicBezTo>
                  <a:cubicBezTo>
                    <a:pt x="191" y="179"/>
                    <a:pt x="190" y="174"/>
                    <a:pt x="186" y="170"/>
                  </a:cubicBezTo>
                  <a:cubicBezTo>
                    <a:pt x="199" y="154"/>
                    <a:pt x="199" y="154"/>
                    <a:pt x="199" y="154"/>
                  </a:cubicBezTo>
                  <a:cubicBezTo>
                    <a:pt x="199" y="154"/>
                    <a:pt x="199" y="154"/>
                    <a:pt x="199" y="154"/>
                  </a:cubicBezTo>
                  <a:cubicBezTo>
                    <a:pt x="199" y="154"/>
                    <a:pt x="199" y="154"/>
                    <a:pt x="199" y="154"/>
                  </a:cubicBezTo>
                  <a:cubicBezTo>
                    <a:pt x="200" y="153"/>
                    <a:pt x="200" y="151"/>
                    <a:pt x="198" y="148"/>
                  </a:cubicBezTo>
                  <a:cubicBezTo>
                    <a:pt x="206" y="139"/>
                    <a:pt x="206" y="139"/>
                    <a:pt x="206" y="139"/>
                  </a:cubicBezTo>
                  <a:cubicBezTo>
                    <a:pt x="206" y="139"/>
                    <a:pt x="206" y="139"/>
                    <a:pt x="206" y="139"/>
                  </a:cubicBezTo>
                  <a:cubicBezTo>
                    <a:pt x="206" y="139"/>
                    <a:pt x="206" y="139"/>
                    <a:pt x="206" y="139"/>
                  </a:cubicBezTo>
                  <a:cubicBezTo>
                    <a:pt x="207" y="138"/>
                    <a:pt x="206" y="137"/>
                    <a:pt x="205" y="135"/>
                  </a:cubicBezTo>
                  <a:close/>
                  <a:moveTo>
                    <a:pt x="75" y="227"/>
                  </a:moveTo>
                  <a:cubicBezTo>
                    <a:pt x="23" y="227"/>
                    <a:pt x="9" y="217"/>
                    <a:pt x="9" y="210"/>
                  </a:cubicBezTo>
                  <a:cubicBezTo>
                    <a:pt x="9" y="122"/>
                    <a:pt x="9" y="122"/>
                    <a:pt x="9" y="122"/>
                  </a:cubicBezTo>
                  <a:cubicBezTo>
                    <a:pt x="9" y="115"/>
                    <a:pt x="16" y="116"/>
                    <a:pt x="23" y="116"/>
                  </a:cubicBezTo>
                  <a:cubicBezTo>
                    <a:pt x="130" y="116"/>
                    <a:pt x="130" y="116"/>
                    <a:pt x="130" y="116"/>
                  </a:cubicBezTo>
                  <a:cubicBezTo>
                    <a:pt x="138" y="116"/>
                    <a:pt x="144" y="115"/>
                    <a:pt x="144" y="122"/>
                  </a:cubicBezTo>
                  <a:cubicBezTo>
                    <a:pt x="144" y="172"/>
                    <a:pt x="144" y="172"/>
                    <a:pt x="144" y="172"/>
                  </a:cubicBezTo>
                  <a:cubicBezTo>
                    <a:pt x="99" y="226"/>
                    <a:pt x="99" y="226"/>
                    <a:pt x="99" y="226"/>
                  </a:cubicBezTo>
                  <a:cubicBezTo>
                    <a:pt x="92" y="226"/>
                    <a:pt x="84" y="227"/>
                    <a:pt x="75" y="227"/>
                  </a:cubicBezTo>
                  <a:close/>
                  <a:moveTo>
                    <a:pt x="144" y="227"/>
                  </a:moveTo>
                  <a:cubicBezTo>
                    <a:pt x="121" y="208"/>
                    <a:pt x="121" y="208"/>
                    <a:pt x="121" y="208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62" y="160"/>
                    <a:pt x="167" y="162"/>
                    <a:pt x="174" y="167"/>
                  </a:cubicBezTo>
                  <a:cubicBezTo>
                    <a:pt x="181" y="173"/>
                    <a:pt x="183" y="178"/>
                    <a:pt x="183" y="180"/>
                  </a:cubicBezTo>
                  <a:lnTo>
                    <a:pt x="144" y="22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000" dirty="0">
                <a:solidFill>
                  <a:schemeClr val="tx2"/>
                </a:solidFill>
                <a:latin typeface="+mj-lt"/>
              </a:endParaRPr>
            </a:p>
          </p:txBody>
        </p:sp>
      </p:grpSp>
      <p:sp>
        <p:nvSpPr>
          <p:cNvPr id="18" name="Hexagon 54">
            <a:extLst>
              <a:ext uri="{FF2B5EF4-FFF2-40B4-BE49-F238E27FC236}">
                <a16:creationId xmlns:a16="http://schemas.microsoft.com/office/drawing/2014/main" id="{8513A655-3C76-4839-BA93-7BE44B2925F4}"/>
              </a:ext>
            </a:extLst>
          </p:cNvPr>
          <p:cNvSpPr/>
          <p:nvPr/>
        </p:nvSpPr>
        <p:spPr bwMode="ltGray">
          <a:xfrm>
            <a:off x="4639756" y="2189700"/>
            <a:ext cx="1017995" cy="915472"/>
          </a:xfrm>
          <a:prstGeom prst="hexagon">
            <a:avLst/>
          </a:prstGeom>
          <a:solidFill>
            <a:schemeClr val="accent4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19" name="Group 165">
            <a:extLst>
              <a:ext uri="{FF2B5EF4-FFF2-40B4-BE49-F238E27FC236}">
                <a16:creationId xmlns:a16="http://schemas.microsoft.com/office/drawing/2014/main" id="{7A2430D2-6797-45AC-8C58-32A1AE1B08D0}"/>
              </a:ext>
            </a:extLst>
          </p:cNvPr>
          <p:cNvGrpSpPr/>
          <p:nvPr/>
        </p:nvGrpSpPr>
        <p:grpSpPr>
          <a:xfrm>
            <a:off x="4886826" y="2316909"/>
            <a:ext cx="445924" cy="661055"/>
            <a:chOff x="1423843" y="1658070"/>
            <a:chExt cx="469611" cy="667355"/>
          </a:xfrm>
          <a:solidFill>
            <a:schemeClr val="bg1"/>
          </a:solidFill>
        </p:grpSpPr>
        <p:sp>
          <p:nvSpPr>
            <p:cNvPr id="31" name="Oval 11">
              <a:extLst>
                <a:ext uri="{FF2B5EF4-FFF2-40B4-BE49-F238E27FC236}">
                  <a16:creationId xmlns:a16="http://schemas.microsoft.com/office/drawing/2014/main" id="{A553FD59-2E0C-4775-AB15-5E0BE1A35F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8104" y="1658070"/>
              <a:ext cx="217796" cy="217491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0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AF60BD6-E38B-4813-829A-D56E14276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0550" y="1891967"/>
              <a:ext cx="98722" cy="168586"/>
            </a:xfrm>
            <a:custGeom>
              <a:avLst/>
              <a:gdLst>
                <a:gd name="T0" fmla="*/ 67 w 137"/>
                <a:gd name="T1" fmla="*/ 0 h 234"/>
                <a:gd name="T2" fmla="*/ 61 w 137"/>
                <a:gd name="T3" fmla="*/ 0 h 234"/>
                <a:gd name="T4" fmla="*/ 0 w 137"/>
                <a:gd name="T5" fmla="*/ 61 h 234"/>
                <a:gd name="T6" fmla="*/ 0 w 137"/>
                <a:gd name="T7" fmla="*/ 234 h 234"/>
                <a:gd name="T8" fmla="*/ 137 w 137"/>
                <a:gd name="T9" fmla="*/ 0 h 234"/>
                <a:gd name="T10" fmla="*/ 73 w 137"/>
                <a:gd name="T11" fmla="*/ 0 h 234"/>
                <a:gd name="T12" fmla="*/ 67 w 137"/>
                <a:gd name="T13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7" h="234">
                  <a:moveTo>
                    <a:pt x="67" y="0"/>
                  </a:moveTo>
                  <a:cubicBezTo>
                    <a:pt x="65" y="0"/>
                    <a:pt x="63" y="0"/>
                    <a:pt x="61" y="0"/>
                  </a:cubicBezTo>
                  <a:cubicBezTo>
                    <a:pt x="28" y="0"/>
                    <a:pt x="0" y="27"/>
                    <a:pt x="0" y="61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36" y="152"/>
                    <a:pt x="109" y="40"/>
                    <a:pt x="137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71" y="0"/>
                    <a:pt x="69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0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id="{16A5B663-E011-4734-93E5-85D52A948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1398" y="1891961"/>
              <a:ext cx="352056" cy="433464"/>
            </a:xfrm>
            <a:custGeom>
              <a:avLst/>
              <a:gdLst>
                <a:gd name="T0" fmla="*/ 487 w 488"/>
                <a:gd name="T1" fmla="*/ 67 h 602"/>
                <a:gd name="T2" fmla="*/ 487 w 488"/>
                <a:gd name="T3" fmla="*/ 61 h 602"/>
                <a:gd name="T4" fmla="*/ 426 w 488"/>
                <a:gd name="T5" fmla="*/ 0 h 602"/>
                <a:gd name="T6" fmla="*/ 421 w 488"/>
                <a:gd name="T7" fmla="*/ 0 h 602"/>
                <a:gd name="T8" fmla="*/ 415 w 488"/>
                <a:gd name="T9" fmla="*/ 0 h 602"/>
                <a:gd name="T10" fmla="*/ 47 w 488"/>
                <a:gd name="T11" fmla="*/ 0 h 602"/>
                <a:gd name="T12" fmla="*/ 323 w 488"/>
                <a:gd name="T13" fmla="*/ 270 h 602"/>
                <a:gd name="T14" fmla="*/ 333 w 488"/>
                <a:gd name="T15" fmla="*/ 404 h 602"/>
                <a:gd name="T16" fmla="*/ 0 w 488"/>
                <a:gd name="T17" fmla="*/ 412 h 602"/>
                <a:gd name="T18" fmla="*/ 0 w 488"/>
                <a:gd name="T19" fmla="*/ 574 h 602"/>
                <a:gd name="T20" fmla="*/ 348 w 488"/>
                <a:gd name="T21" fmla="*/ 574 h 602"/>
                <a:gd name="T22" fmla="*/ 348 w 488"/>
                <a:gd name="T23" fmla="*/ 185 h 602"/>
                <a:gd name="T24" fmla="*/ 365 w 488"/>
                <a:gd name="T25" fmla="*/ 185 h 602"/>
                <a:gd name="T26" fmla="*/ 365 w 488"/>
                <a:gd name="T27" fmla="*/ 541 h 602"/>
                <a:gd name="T28" fmla="*/ 426 w 488"/>
                <a:gd name="T29" fmla="*/ 602 h 602"/>
                <a:gd name="T30" fmla="*/ 487 w 488"/>
                <a:gd name="T31" fmla="*/ 541 h 602"/>
                <a:gd name="T32" fmla="*/ 487 w 488"/>
                <a:gd name="T33" fmla="*/ 117 h 602"/>
                <a:gd name="T34" fmla="*/ 488 w 488"/>
                <a:gd name="T35" fmla="*/ 112 h 602"/>
                <a:gd name="T36" fmla="*/ 488 w 488"/>
                <a:gd name="T37" fmla="*/ 72 h 602"/>
                <a:gd name="T38" fmla="*/ 487 w 488"/>
                <a:gd name="T39" fmla="*/ 67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88" h="602">
                  <a:moveTo>
                    <a:pt x="487" y="67"/>
                  </a:moveTo>
                  <a:cubicBezTo>
                    <a:pt x="487" y="61"/>
                    <a:pt x="487" y="61"/>
                    <a:pt x="487" y="61"/>
                  </a:cubicBezTo>
                  <a:cubicBezTo>
                    <a:pt x="487" y="27"/>
                    <a:pt x="460" y="0"/>
                    <a:pt x="426" y="0"/>
                  </a:cubicBezTo>
                  <a:cubicBezTo>
                    <a:pt x="424" y="0"/>
                    <a:pt x="423" y="0"/>
                    <a:pt x="421" y="0"/>
                  </a:cubicBezTo>
                  <a:cubicBezTo>
                    <a:pt x="419" y="0"/>
                    <a:pt x="417" y="0"/>
                    <a:pt x="415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105" y="57"/>
                    <a:pt x="301" y="253"/>
                    <a:pt x="323" y="270"/>
                  </a:cubicBezTo>
                  <a:cubicBezTo>
                    <a:pt x="350" y="289"/>
                    <a:pt x="333" y="404"/>
                    <a:pt x="333" y="404"/>
                  </a:cubicBezTo>
                  <a:cubicBezTo>
                    <a:pt x="333" y="404"/>
                    <a:pt x="130" y="409"/>
                    <a:pt x="0" y="412"/>
                  </a:cubicBezTo>
                  <a:cubicBezTo>
                    <a:pt x="0" y="574"/>
                    <a:pt x="0" y="574"/>
                    <a:pt x="0" y="574"/>
                  </a:cubicBezTo>
                  <a:cubicBezTo>
                    <a:pt x="348" y="574"/>
                    <a:pt x="348" y="574"/>
                    <a:pt x="348" y="574"/>
                  </a:cubicBezTo>
                  <a:cubicBezTo>
                    <a:pt x="348" y="185"/>
                    <a:pt x="348" y="185"/>
                    <a:pt x="348" y="185"/>
                  </a:cubicBezTo>
                  <a:cubicBezTo>
                    <a:pt x="365" y="185"/>
                    <a:pt x="365" y="185"/>
                    <a:pt x="365" y="185"/>
                  </a:cubicBezTo>
                  <a:cubicBezTo>
                    <a:pt x="365" y="541"/>
                    <a:pt x="365" y="541"/>
                    <a:pt x="365" y="541"/>
                  </a:cubicBezTo>
                  <a:cubicBezTo>
                    <a:pt x="365" y="575"/>
                    <a:pt x="393" y="602"/>
                    <a:pt x="426" y="602"/>
                  </a:cubicBezTo>
                  <a:cubicBezTo>
                    <a:pt x="460" y="602"/>
                    <a:pt x="487" y="575"/>
                    <a:pt x="487" y="541"/>
                  </a:cubicBezTo>
                  <a:cubicBezTo>
                    <a:pt x="487" y="117"/>
                    <a:pt x="487" y="117"/>
                    <a:pt x="487" y="117"/>
                  </a:cubicBezTo>
                  <a:cubicBezTo>
                    <a:pt x="488" y="115"/>
                    <a:pt x="488" y="114"/>
                    <a:pt x="488" y="112"/>
                  </a:cubicBezTo>
                  <a:cubicBezTo>
                    <a:pt x="488" y="72"/>
                    <a:pt x="488" y="72"/>
                    <a:pt x="488" y="72"/>
                  </a:cubicBezTo>
                  <a:cubicBezTo>
                    <a:pt x="488" y="70"/>
                    <a:pt x="488" y="69"/>
                    <a:pt x="487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0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id="{90C33510-78D8-49E2-8B57-92CC8000B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3843" y="1880420"/>
              <a:ext cx="369978" cy="309530"/>
            </a:xfrm>
            <a:custGeom>
              <a:avLst/>
              <a:gdLst>
                <a:gd name="T0" fmla="*/ 486 w 513"/>
                <a:gd name="T1" fmla="*/ 286 h 430"/>
                <a:gd name="T2" fmla="*/ 210 w 513"/>
                <a:gd name="T3" fmla="*/ 16 h 430"/>
                <a:gd name="T4" fmla="*/ 194 w 513"/>
                <a:gd name="T5" fmla="*/ 0 h 430"/>
                <a:gd name="T6" fmla="*/ 171 w 513"/>
                <a:gd name="T7" fmla="*/ 0 h 430"/>
                <a:gd name="T8" fmla="*/ 160 w 513"/>
                <a:gd name="T9" fmla="*/ 16 h 430"/>
                <a:gd name="T10" fmla="*/ 23 w 513"/>
                <a:gd name="T11" fmla="*/ 250 h 430"/>
                <a:gd name="T12" fmla="*/ 4 w 513"/>
                <a:gd name="T13" fmla="*/ 315 h 430"/>
                <a:gd name="T14" fmla="*/ 61 w 513"/>
                <a:gd name="T15" fmla="*/ 430 h 430"/>
                <a:gd name="T16" fmla="*/ 163 w 513"/>
                <a:gd name="T17" fmla="*/ 428 h 430"/>
                <a:gd name="T18" fmla="*/ 496 w 513"/>
                <a:gd name="T19" fmla="*/ 420 h 430"/>
                <a:gd name="T20" fmla="*/ 486 w 513"/>
                <a:gd name="T21" fmla="*/ 286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3" h="430">
                  <a:moveTo>
                    <a:pt x="486" y="286"/>
                  </a:moveTo>
                  <a:cubicBezTo>
                    <a:pt x="464" y="269"/>
                    <a:pt x="268" y="73"/>
                    <a:pt x="210" y="16"/>
                  </a:cubicBezTo>
                  <a:cubicBezTo>
                    <a:pt x="200" y="6"/>
                    <a:pt x="194" y="0"/>
                    <a:pt x="194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71" y="0"/>
                    <a:pt x="167" y="6"/>
                    <a:pt x="160" y="16"/>
                  </a:cubicBezTo>
                  <a:cubicBezTo>
                    <a:pt x="132" y="56"/>
                    <a:pt x="59" y="168"/>
                    <a:pt x="23" y="250"/>
                  </a:cubicBezTo>
                  <a:cubicBezTo>
                    <a:pt x="12" y="275"/>
                    <a:pt x="5" y="298"/>
                    <a:pt x="4" y="315"/>
                  </a:cubicBezTo>
                  <a:cubicBezTo>
                    <a:pt x="0" y="379"/>
                    <a:pt x="11" y="430"/>
                    <a:pt x="61" y="430"/>
                  </a:cubicBezTo>
                  <a:cubicBezTo>
                    <a:pt x="75" y="430"/>
                    <a:pt x="114" y="429"/>
                    <a:pt x="163" y="428"/>
                  </a:cubicBezTo>
                  <a:cubicBezTo>
                    <a:pt x="293" y="425"/>
                    <a:pt x="496" y="420"/>
                    <a:pt x="496" y="420"/>
                  </a:cubicBezTo>
                  <a:cubicBezTo>
                    <a:pt x="496" y="420"/>
                    <a:pt x="513" y="305"/>
                    <a:pt x="486" y="286"/>
                  </a:cubicBez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4000" dirty="0">
                <a:solidFill>
                  <a:schemeClr val="tx2"/>
                </a:solidFill>
                <a:latin typeface="+mj-lt"/>
              </a:endParaRPr>
            </a:p>
          </p:txBody>
        </p:sp>
      </p:grpSp>
      <p:grpSp>
        <p:nvGrpSpPr>
          <p:cNvPr id="20" name="Group 6">
            <a:extLst>
              <a:ext uri="{FF2B5EF4-FFF2-40B4-BE49-F238E27FC236}">
                <a16:creationId xmlns:a16="http://schemas.microsoft.com/office/drawing/2014/main" id="{A7125E4A-CD57-4A29-938F-1D0F3144A9ED}"/>
              </a:ext>
            </a:extLst>
          </p:cNvPr>
          <p:cNvGrpSpPr/>
          <p:nvPr/>
        </p:nvGrpSpPr>
        <p:grpSpPr>
          <a:xfrm>
            <a:off x="4602574" y="3335919"/>
            <a:ext cx="1021336" cy="978835"/>
            <a:chOff x="5730388" y="3558887"/>
            <a:chExt cx="513491" cy="471753"/>
          </a:xfrm>
        </p:grpSpPr>
        <p:sp>
          <p:nvSpPr>
            <p:cNvPr id="29" name="Rectangle 44">
              <a:extLst>
                <a:ext uri="{FF2B5EF4-FFF2-40B4-BE49-F238E27FC236}">
                  <a16:creationId xmlns:a16="http://schemas.microsoft.com/office/drawing/2014/main" id="{CC2CB3EA-B9A6-4ABD-B023-E6EA7AA04152}"/>
                </a:ext>
              </a:extLst>
            </p:cNvPr>
            <p:cNvSpPr/>
            <p:nvPr/>
          </p:nvSpPr>
          <p:spPr>
            <a:xfrm>
              <a:off x="5730388" y="3558887"/>
              <a:ext cx="509510" cy="23669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2400" b="1" dirty="0">
                  <a:solidFill>
                    <a:schemeClr val="tx2"/>
                  </a:solidFill>
                  <a:latin typeface="+mj-lt"/>
                </a:rPr>
                <a:t>03</a:t>
              </a:r>
              <a:endParaRPr lang="en-US" sz="24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30" name="Hexagon 45">
              <a:extLst>
                <a:ext uri="{FF2B5EF4-FFF2-40B4-BE49-F238E27FC236}">
                  <a16:creationId xmlns:a16="http://schemas.microsoft.com/office/drawing/2014/main" id="{EC1EF484-261F-4C45-B81E-D0083C259F2B}"/>
                </a:ext>
              </a:extLst>
            </p:cNvPr>
            <p:cNvSpPr/>
            <p:nvPr/>
          </p:nvSpPr>
          <p:spPr bwMode="ltGray">
            <a:xfrm>
              <a:off x="5732068" y="3589424"/>
              <a:ext cx="511811" cy="441216"/>
            </a:xfrm>
            <a:prstGeom prst="hexagon">
              <a:avLst/>
            </a:prstGeom>
            <a:solidFill>
              <a:schemeClr val="accent2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2"/>
                </a:solidFill>
                <a:latin typeface="+mj-lt"/>
              </a:endParaRPr>
            </a:p>
          </p:txBody>
        </p:sp>
      </p:grpSp>
      <p:sp>
        <p:nvSpPr>
          <p:cNvPr id="21" name="Oval 39">
            <a:extLst>
              <a:ext uri="{FF2B5EF4-FFF2-40B4-BE49-F238E27FC236}">
                <a16:creationId xmlns:a16="http://schemas.microsoft.com/office/drawing/2014/main" id="{A1A774A8-81FB-43CB-8636-45FE66C4113B}"/>
              </a:ext>
            </a:extLst>
          </p:cNvPr>
          <p:cNvSpPr/>
          <p:nvPr/>
        </p:nvSpPr>
        <p:spPr bwMode="ltGray">
          <a:xfrm>
            <a:off x="3414484" y="4569444"/>
            <a:ext cx="210761" cy="21986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2" name="Oval 40">
            <a:extLst>
              <a:ext uri="{FF2B5EF4-FFF2-40B4-BE49-F238E27FC236}">
                <a16:creationId xmlns:a16="http://schemas.microsoft.com/office/drawing/2014/main" id="{9B627E0E-7F24-4EB3-8B92-BC9532CDC1E3}"/>
              </a:ext>
            </a:extLst>
          </p:cNvPr>
          <p:cNvSpPr/>
          <p:nvPr/>
        </p:nvSpPr>
        <p:spPr bwMode="ltGray">
          <a:xfrm>
            <a:off x="3234583" y="2941179"/>
            <a:ext cx="210761" cy="21986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25" name="Group 70">
            <a:extLst>
              <a:ext uri="{FF2B5EF4-FFF2-40B4-BE49-F238E27FC236}">
                <a16:creationId xmlns:a16="http://schemas.microsoft.com/office/drawing/2014/main" id="{732CFCC2-36C4-4073-B631-882A07926383}"/>
              </a:ext>
            </a:extLst>
          </p:cNvPr>
          <p:cNvGrpSpPr/>
          <p:nvPr/>
        </p:nvGrpSpPr>
        <p:grpSpPr>
          <a:xfrm>
            <a:off x="4925585" y="3564292"/>
            <a:ext cx="491969" cy="522089"/>
            <a:chOff x="687725" y="4846638"/>
            <a:chExt cx="514351" cy="568326"/>
          </a:xfrm>
          <a:solidFill>
            <a:sysClr val="window" lastClr="FFFFFF"/>
          </a:solidFill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56C3CA33-1D8B-46B6-AAB8-DF362DD4DD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25" y="4846638"/>
              <a:ext cx="260350" cy="325438"/>
            </a:xfrm>
            <a:custGeom>
              <a:avLst/>
              <a:gdLst>
                <a:gd name="T0" fmla="*/ 518 w 518"/>
                <a:gd name="T1" fmla="*/ 358 h 645"/>
                <a:gd name="T2" fmla="*/ 504 w 518"/>
                <a:gd name="T3" fmla="*/ 337 h 645"/>
                <a:gd name="T4" fmla="*/ 436 w 518"/>
                <a:gd name="T5" fmla="*/ 285 h 645"/>
                <a:gd name="T6" fmla="*/ 372 w 518"/>
                <a:gd name="T7" fmla="*/ 190 h 645"/>
                <a:gd name="T8" fmla="*/ 372 w 518"/>
                <a:gd name="T9" fmla="*/ 4 h 645"/>
                <a:gd name="T10" fmla="*/ 368 w 518"/>
                <a:gd name="T11" fmla="*/ 0 h 645"/>
                <a:gd name="T12" fmla="*/ 159 w 518"/>
                <a:gd name="T13" fmla="*/ 0 h 645"/>
                <a:gd name="T14" fmla="*/ 156 w 518"/>
                <a:gd name="T15" fmla="*/ 4 h 645"/>
                <a:gd name="T16" fmla="*/ 156 w 518"/>
                <a:gd name="T17" fmla="*/ 201 h 645"/>
                <a:gd name="T18" fmla="*/ 95 w 518"/>
                <a:gd name="T19" fmla="*/ 295 h 645"/>
                <a:gd name="T20" fmla="*/ 0 w 518"/>
                <a:gd name="T21" fmla="*/ 442 h 645"/>
                <a:gd name="T22" fmla="*/ 250 w 518"/>
                <a:gd name="T23" fmla="*/ 579 h 645"/>
                <a:gd name="T24" fmla="*/ 269 w 518"/>
                <a:gd name="T25" fmla="*/ 572 h 645"/>
                <a:gd name="T26" fmla="*/ 298 w 518"/>
                <a:gd name="T27" fmla="*/ 577 h 645"/>
                <a:gd name="T28" fmla="*/ 369 w 518"/>
                <a:gd name="T29" fmla="*/ 596 h 645"/>
                <a:gd name="T30" fmla="*/ 518 w 518"/>
                <a:gd name="T31" fmla="*/ 358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8" h="645">
                  <a:moveTo>
                    <a:pt x="518" y="358"/>
                  </a:moveTo>
                  <a:cubicBezTo>
                    <a:pt x="514" y="351"/>
                    <a:pt x="509" y="344"/>
                    <a:pt x="504" y="337"/>
                  </a:cubicBezTo>
                  <a:cubicBezTo>
                    <a:pt x="487" y="314"/>
                    <a:pt x="463" y="296"/>
                    <a:pt x="436" y="285"/>
                  </a:cubicBezTo>
                  <a:cubicBezTo>
                    <a:pt x="396" y="269"/>
                    <a:pt x="372" y="232"/>
                    <a:pt x="372" y="190"/>
                  </a:cubicBezTo>
                  <a:cubicBezTo>
                    <a:pt x="372" y="128"/>
                    <a:pt x="372" y="66"/>
                    <a:pt x="372" y="4"/>
                  </a:cubicBezTo>
                  <a:cubicBezTo>
                    <a:pt x="372" y="2"/>
                    <a:pt x="370" y="0"/>
                    <a:pt x="368" y="0"/>
                  </a:cubicBezTo>
                  <a:cubicBezTo>
                    <a:pt x="298" y="0"/>
                    <a:pt x="229" y="0"/>
                    <a:pt x="159" y="0"/>
                  </a:cubicBezTo>
                  <a:cubicBezTo>
                    <a:pt x="157" y="0"/>
                    <a:pt x="156" y="2"/>
                    <a:pt x="156" y="4"/>
                  </a:cubicBezTo>
                  <a:cubicBezTo>
                    <a:pt x="156" y="70"/>
                    <a:pt x="156" y="135"/>
                    <a:pt x="156" y="201"/>
                  </a:cubicBezTo>
                  <a:cubicBezTo>
                    <a:pt x="156" y="243"/>
                    <a:pt x="133" y="278"/>
                    <a:pt x="95" y="295"/>
                  </a:cubicBezTo>
                  <a:cubicBezTo>
                    <a:pt x="39" y="321"/>
                    <a:pt x="0" y="377"/>
                    <a:pt x="0" y="442"/>
                  </a:cubicBezTo>
                  <a:cubicBezTo>
                    <a:pt x="0" y="571"/>
                    <a:pt x="144" y="645"/>
                    <a:pt x="250" y="579"/>
                  </a:cubicBezTo>
                  <a:cubicBezTo>
                    <a:pt x="256" y="576"/>
                    <a:pt x="263" y="573"/>
                    <a:pt x="269" y="572"/>
                  </a:cubicBezTo>
                  <a:cubicBezTo>
                    <a:pt x="278" y="571"/>
                    <a:pt x="288" y="572"/>
                    <a:pt x="298" y="577"/>
                  </a:cubicBezTo>
                  <a:cubicBezTo>
                    <a:pt x="321" y="589"/>
                    <a:pt x="345" y="595"/>
                    <a:pt x="369" y="596"/>
                  </a:cubicBezTo>
                  <a:cubicBezTo>
                    <a:pt x="377" y="494"/>
                    <a:pt x="435" y="407"/>
                    <a:pt x="518" y="3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4000" kern="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D83D2507-1CF0-49EF-9DDF-3B708D4DBC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6164" y="5032377"/>
              <a:ext cx="315912" cy="304801"/>
            </a:xfrm>
            <a:custGeom>
              <a:avLst/>
              <a:gdLst>
                <a:gd name="T0" fmla="*/ 614 w 629"/>
                <a:gd name="T1" fmla="*/ 433 h 605"/>
                <a:gd name="T2" fmla="*/ 506 w 629"/>
                <a:gd name="T3" fmla="*/ 325 h 605"/>
                <a:gd name="T4" fmla="*/ 519 w 629"/>
                <a:gd name="T5" fmla="*/ 248 h 605"/>
                <a:gd name="T6" fmla="*/ 447 w 629"/>
                <a:gd name="T7" fmla="*/ 73 h 605"/>
                <a:gd name="T8" fmla="*/ 272 w 629"/>
                <a:gd name="T9" fmla="*/ 0 h 605"/>
                <a:gd name="T10" fmla="*/ 96 w 629"/>
                <a:gd name="T11" fmla="*/ 73 h 605"/>
                <a:gd name="T12" fmla="*/ 96 w 629"/>
                <a:gd name="T13" fmla="*/ 423 h 605"/>
                <a:gd name="T14" fmla="*/ 272 w 629"/>
                <a:gd name="T15" fmla="*/ 496 h 605"/>
                <a:gd name="T16" fmla="*/ 348 w 629"/>
                <a:gd name="T17" fmla="*/ 483 h 605"/>
                <a:gd name="T18" fmla="*/ 456 w 629"/>
                <a:gd name="T19" fmla="*/ 591 h 605"/>
                <a:gd name="T20" fmla="*/ 509 w 629"/>
                <a:gd name="T21" fmla="*/ 591 h 605"/>
                <a:gd name="T22" fmla="*/ 614 w 629"/>
                <a:gd name="T23" fmla="*/ 485 h 605"/>
                <a:gd name="T24" fmla="*/ 614 w 629"/>
                <a:gd name="T25" fmla="*/ 433 h 605"/>
                <a:gd name="T26" fmla="*/ 313 w 629"/>
                <a:gd name="T27" fmla="*/ 365 h 605"/>
                <a:gd name="T28" fmla="*/ 183 w 629"/>
                <a:gd name="T29" fmla="*/ 336 h 605"/>
                <a:gd name="T30" fmla="*/ 183 w 629"/>
                <a:gd name="T31" fmla="*/ 160 h 605"/>
                <a:gd name="T32" fmla="*/ 272 w 629"/>
                <a:gd name="T33" fmla="*/ 123 h 605"/>
                <a:gd name="T34" fmla="*/ 360 w 629"/>
                <a:gd name="T35" fmla="*/ 160 h 605"/>
                <a:gd name="T36" fmla="*/ 397 w 629"/>
                <a:gd name="T37" fmla="*/ 248 h 605"/>
                <a:gd name="T38" fmla="*/ 389 w 629"/>
                <a:gd name="T39" fmla="*/ 288 h 605"/>
                <a:gd name="T40" fmla="*/ 360 w 629"/>
                <a:gd name="T41" fmla="*/ 336 h 605"/>
                <a:gd name="T42" fmla="*/ 313 w 629"/>
                <a:gd name="T43" fmla="*/ 36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29" h="605">
                  <a:moveTo>
                    <a:pt x="614" y="433"/>
                  </a:moveTo>
                  <a:cubicBezTo>
                    <a:pt x="506" y="325"/>
                    <a:pt x="506" y="325"/>
                    <a:pt x="506" y="325"/>
                  </a:cubicBezTo>
                  <a:cubicBezTo>
                    <a:pt x="514" y="300"/>
                    <a:pt x="519" y="275"/>
                    <a:pt x="519" y="248"/>
                  </a:cubicBezTo>
                  <a:cubicBezTo>
                    <a:pt x="519" y="182"/>
                    <a:pt x="494" y="120"/>
                    <a:pt x="447" y="73"/>
                  </a:cubicBezTo>
                  <a:cubicBezTo>
                    <a:pt x="400" y="26"/>
                    <a:pt x="338" y="0"/>
                    <a:pt x="272" y="0"/>
                  </a:cubicBezTo>
                  <a:cubicBezTo>
                    <a:pt x="205" y="0"/>
                    <a:pt x="143" y="26"/>
                    <a:pt x="96" y="73"/>
                  </a:cubicBezTo>
                  <a:cubicBezTo>
                    <a:pt x="0" y="170"/>
                    <a:pt x="0" y="327"/>
                    <a:pt x="96" y="423"/>
                  </a:cubicBezTo>
                  <a:cubicBezTo>
                    <a:pt x="143" y="470"/>
                    <a:pt x="205" y="496"/>
                    <a:pt x="272" y="496"/>
                  </a:cubicBezTo>
                  <a:cubicBezTo>
                    <a:pt x="298" y="496"/>
                    <a:pt x="324" y="491"/>
                    <a:pt x="348" y="483"/>
                  </a:cubicBezTo>
                  <a:cubicBezTo>
                    <a:pt x="456" y="591"/>
                    <a:pt x="456" y="591"/>
                    <a:pt x="456" y="591"/>
                  </a:cubicBezTo>
                  <a:cubicBezTo>
                    <a:pt x="471" y="605"/>
                    <a:pt x="494" y="605"/>
                    <a:pt x="509" y="591"/>
                  </a:cubicBezTo>
                  <a:cubicBezTo>
                    <a:pt x="614" y="485"/>
                    <a:pt x="614" y="485"/>
                    <a:pt x="614" y="485"/>
                  </a:cubicBezTo>
                  <a:cubicBezTo>
                    <a:pt x="629" y="471"/>
                    <a:pt x="629" y="447"/>
                    <a:pt x="614" y="433"/>
                  </a:cubicBezTo>
                  <a:close/>
                  <a:moveTo>
                    <a:pt x="313" y="365"/>
                  </a:moveTo>
                  <a:cubicBezTo>
                    <a:pt x="269" y="380"/>
                    <a:pt x="217" y="370"/>
                    <a:pt x="183" y="336"/>
                  </a:cubicBezTo>
                  <a:cubicBezTo>
                    <a:pt x="134" y="288"/>
                    <a:pt x="134" y="209"/>
                    <a:pt x="183" y="160"/>
                  </a:cubicBezTo>
                  <a:cubicBezTo>
                    <a:pt x="207" y="136"/>
                    <a:pt x="238" y="123"/>
                    <a:pt x="272" y="123"/>
                  </a:cubicBezTo>
                  <a:cubicBezTo>
                    <a:pt x="305" y="123"/>
                    <a:pt x="336" y="136"/>
                    <a:pt x="360" y="160"/>
                  </a:cubicBezTo>
                  <a:cubicBezTo>
                    <a:pt x="383" y="183"/>
                    <a:pt x="397" y="215"/>
                    <a:pt x="397" y="248"/>
                  </a:cubicBezTo>
                  <a:cubicBezTo>
                    <a:pt x="397" y="262"/>
                    <a:pt x="394" y="276"/>
                    <a:pt x="389" y="288"/>
                  </a:cubicBezTo>
                  <a:cubicBezTo>
                    <a:pt x="383" y="306"/>
                    <a:pt x="374" y="323"/>
                    <a:pt x="360" y="336"/>
                  </a:cubicBezTo>
                  <a:cubicBezTo>
                    <a:pt x="346" y="350"/>
                    <a:pt x="330" y="359"/>
                    <a:pt x="313" y="3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4000" kern="0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FCFE70F8-BC30-469E-A8DA-BE91C83CE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25" y="5140327"/>
              <a:ext cx="255588" cy="274637"/>
            </a:xfrm>
            <a:custGeom>
              <a:avLst/>
              <a:gdLst>
                <a:gd name="T0" fmla="*/ 374 w 508"/>
                <a:gd name="T1" fmla="*/ 71 h 544"/>
                <a:gd name="T2" fmla="*/ 366 w 508"/>
                <a:gd name="T3" fmla="*/ 67 h 544"/>
                <a:gd name="T4" fmla="*/ 289 w 508"/>
                <a:gd name="T5" fmla="*/ 37 h 544"/>
                <a:gd name="T6" fmla="*/ 193 w 508"/>
                <a:gd name="T7" fmla="*/ 65 h 544"/>
                <a:gd name="T8" fmla="*/ 178 w 508"/>
                <a:gd name="T9" fmla="*/ 72 h 544"/>
                <a:gd name="T10" fmla="*/ 80 w 508"/>
                <a:gd name="T11" fmla="*/ 59 h 544"/>
                <a:gd name="T12" fmla="*/ 30 w 508"/>
                <a:gd name="T13" fmla="*/ 168 h 544"/>
                <a:gd name="T14" fmla="*/ 53 w 508"/>
                <a:gd name="T15" fmla="*/ 205 h 544"/>
                <a:gd name="T16" fmla="*/ 111 w 508"/>
                <a:gd name="T17" fmla="*/ 249 h 544"/>
                <a:gd name="T18" fmla="*/ 171 w 508"/>
                <a:gd name="T19" fmla="*/ 343 h 544"/>
                <a:gd name="T20" fmla="*/ 171 w 508"/>
                <a:gd name="T21" fmla="*/ 541 h 544"/>
                <a:gd name="T22" fmla="*/ 175 w 508"/>
                <a:gd name="T23" fmla="*/ 544 h 544"/>
                <a:gd name="T24" fmla="*/ 384 w 508"/>
                <a:gd name="T25" fmla="*/ 544 h 544"/>
                <a:gd name="T26" fmla="*/ 387 w 508"/>
                <a:gd name="T27" fmla="*/ 541 h 544"/>
                <a:gd name="T28" fmla="*/ 387 w 508"/>
                <a:gd name="T29" fmla="*/ 355 h 544"/>
                <a:gd name="T30" fmla="*/ 420 w 508"/>
                <a:gd name="T31" fmla="*/ 279 h 544"/>
                <a:gd name="T32" fmla="*/ 427 w 508"/>
                <a:gd name="T33" fmla="*/ 280 h 544"/>
                <a:gd name="T34" fmla="*/ 441 w 508"/>
                <a:gd name="T35" fmla="*/ 293 h 544"/>
                <a:gd name="T36" fmla="*/ 444 w 508"/>
                <a:gd name="T37" fmla="*/ 297 h 544"/>
                <a:gd name="T38" fmla="*/ 433 w 508"/>
                <a:gd name="T39" fmla="*/ 539 h 544"/>
                <a:gd name="T40" fmla="*/ 438 w 508"/>
                <a:gd name="T41" fmla="*/ 544 h 544"/>
                <a:gd name="T42" fmla="*/ 466 w 508"/>
                <a:gd name="T43" fmla="*/ 542 h 544"/>
                <a:gd name="T44" fmla="*/ 470 w 508"/>
                <a:gd name="T45" fmla="*/ 538 h 544"/>
                <a:gd name="T46" fmla="*/ 505 w 508"/>
                <a:gd name="T47" fmla="*/ 292 h 544"/>
                <a:gd name="T48" fmla="*/ 507 w 508"/>
                <a:gd name="T49" fmla="*/ 289 h 544"/>
                <a:gd name="T50" fmla="*/ 508 w 508"/>
                <a:gd name="T51" fmla="*/ 288 h 544"/>
                <a:gd name="T52" fmla="*/ 374 w 508"/>
                <a:gd name="T53" fmla="*/ 71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08" h="544">
                  <a:moveTo>
                    <a:pt x="374" y="71"/>
                  </a:moveTo>
                  <a:cubicBezTo>
                    <a:pt x="371" y="70"/>
                    <a:pt x="368" y="68"/>
                    <a:pt x="366" y="67"/>
                  </a:cubicBezTo>
                  <a:cubicBezTo>
                    <a:pt x="333" y="50"/>
                    <a:pt x="328" y="37"/>
                    <a:pt x="289" y="37"/>
                  </a:cubicBezTo>
                  <a:cubicBezTo>
                    <a:pt x="225" y="37"/>
                    <a:pt x="214" y="53"/>
                    <a:pt x="193" y="65"/>
                  </a:cubicBezTo>
                  <a:cubicBezTo>
                    <a:pt x="189" y="68"/>
                    <a:pt x="184" y="70"/>
                    <a:pt x="178" y="72"/>
                  </a:cubicBezTo>
                  <a:cubicBezTo>
                    <a:pt x="123" y="89"/>
                    <a:pt x="103" y="76"/>
                    <a:pt x="80" y="59"/>
                  </a:cubicBezTo>
                  <a:cubicBezTo>
                    <a:pt x="0" y="0"/>
                    <a:pt x="5" y="115"/>
                    <a:pt x="30" y="168"/>
                  </a:cubicBezTo>
                  <a:cubicBezTo>
                    <a:pt x="36" y="182"/>
                    <a:pt x="44" y="194"/>
                    <a:pt x="53" y="205"/>
                  </a:cubicBezTo>
                  <a:cubicBezTo>
                    <a:pt x="69" y="224"/>
                    <a:pt x="88" y="239"/>
                    <a:pt x="111" y="249"/>
                  </a:cubicBezTo>
                  <a:cubicBezTo>
                    <a:pt x="149" y="266"/>
                    <a:pt x="171" y="302"/>
                    <a:pt x="171" y="343"/>
                  </a:cubicBezTo>
                  <a:cubicBezTo>
                    <a:pt x="171" y="409"/>
                    <a:pt x="171" y="475"/>
                    <a:pt x="171" y="541"/>
                  </a:cubicBezTo>
                  <a:cubicBezTo>
                    <a:pt x="171" y="543"/>
                    <a:pt x="173" y="544"/>
                    <a:pt x="175" y="544"/>
                  </a:cubicBezTo>
                  <a:cubicBezTo>
                    <a:pt x="245" y="544"/>
                    <a:pt x="314" y="544"/>
                    <a:pt x="384" y="544"/>
                  </a:cubicBezTo>
                  <a:cubicBezTo>
                    <a:pt x="386" y="544"/>
                    <a:pt x="387" y="543"/>
                    <a:pt x="387" y="541"/>
                  </a:cubicBezTo>
                  <a:cubicBezTo>
                    <a:pt x="387" y="479"/>
                    <a:pt x="387" y="417"/>
                    <a:pt x="387" y="355"/>
                  </a:cubicBezTo>
                  <a:cubicBezTo>
                    <a:pt x="387" y="325"/>
                    <a:pt x="399" y="299"/>
                    <a:pt x="420" y="279"/>
                  </a:cubicBezTo>
                  <a:cubicBezTo>
                    <a:pt x="422" y="278"/>
                    <a:pt x="425" y="278"/>
                    <a:pt x="427" y="280"/>
                  </a:cubicBezTo>
                  <a:cubicBezTo>
                    <a:pt x="431" y="285"/>
                    <a:pt x="435" y="289"/>
                    <a:pt x="441" y="293"/>
                  </a:cubicBezTo>
                  <a:cubicBezTo>
                    <a:pt x="443" y="293"/>
                    <a:pt x="444" y="295"/>
                    <a:pt x="444" y="297"/>
                  </a:cubicBezTo>
                  <a:cubicBezTo>
                    <a:pt x="433" y="539"/>
                    <a:pt x="433" y="539"/>
                    <a:pt x="433" y="539"/>
                  </a:cubicBezTo>
                  <a:cubicBezTo>
                    <a:pt x="433" y="541"/>
                    <a:pt x="435" y="544"/>
                    <a:pt x="438" y="544"/>
                  </a:cubicBezTo>
                  <a:cubicBezTo>
                    <a:pt x="466" y="542"/>
                    <a:pt x="466" y="542"/>
                    <a:pt x="466" y="542"/>
                  </a:cubicBezTo>
                  <a:cubicBezTo>
                    <a:pt x="468" y="542"/>
                    <a:pt x="470" y="540"/>
                    <a:pt x="470" y="538"/>
                  </a:cubicBezTo>
                  <a:cubicBezTo>
                    <a:pt x="505" y="292"/>
                    <a:pt x="505" y="292"/>
                    <a:pt x="505" y="292"/>
                  </a:cubicBezTo>
                  <a:cubicBezTo>
                    <a:pt x="505" y="290"/>
                    <a:pt x="506" y="290"/>
                    <a:pt x="507" y="289"/>
                  </a:cubicBezTo>
                  <a:cubicBezTo>
                    <a:pt x="507" y="289"/>
                    <a:pt x="508" y="288"/>
                    <a:pt x="508" y="288"/>
                  </a:cubicBezTo>
                  <a:cubicBezTo>
                    <a:pt x="435" y="240"/>
                    <a:pt x="384" y="162"/>
                    <a:pt x="374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4000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37" name="Fußzeilenplatzhalter 3">
            <a:extLst>
              <a:ext uri="{FF2B5EF4-FFF2-40B4-BE49-F238E27FC236}">
                <a16:creationId xmlns:a16="http://schemas.microsoft.com/office/drawing/2014/main" id="{EB64A6CA-1F31-45D0-A225-B67C906BF661}"/>
              </a:ext>
            </a:extLst>
          </p:cNvPr>
          <p:cNvSpPr txBox="1">
            <a:spLocks/>
          </p:cNvSpPr>
          <p:nvPr/>
        </p:nvSpPr>
        <p:spPr bwMode="gray">
          <a:xfrm>
            <a:off x="5813612" y="5611193"/>
            <a:ext cx="3848294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 i="1" dirty="0">
                <a:latin typeface="+mj-lt"/>
              </a:rPr>
              <a:t>* </a:t>
            </a:r>
            <a:r>
              <a:rPr lang="en-GB" sz="900" i="1" dirty="0" err="1">
                <a:latin typeface="+mj-lt"/>
              </a:rPr>
              <a:t>Nicht-steroidale</a:t>
            </a:r>
            <a:r>
              <a:rPr lang="en-GB" sz="900" i="1" dirty="0">
                <a:latin typeface="+mj-lt"/>
              </a:rPr>
              <a:t> </a:t>
            </a:r>
            <a:r>
              <a:rPr lang="en-GB" sz="900" i="1" dirty="0" err="1">
                <a:latin typeface="+mj-lt"/>
              </a:rPr>
              <a:t>antientzündliche</a:t>
            </a:r>
            <a:r>
              <a:rPr lang="en-GB" sz="900" i="1" dirty="0">
                <a:latin typeface="+mj-lt"/>
              </a:rPr>
              <a:t> </a:t>
            </a:r>
            <a:r>
              <a:rPr lang="en-GB" sz="900" i="1" dirty="0" err="1">
                <a:latin typeface="+mj-lt"/>
              </a:rPr>
              <a:t>Medikamente</a:t>
            </a:r>
            <a:endParaRPr lang="en-US" sz="900" i="1" dirty="0">
              <a:latin typeface="+mj-lt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A24AF7D-7F1F-42A1-815C-0D7C44605BE1}"/>
              </a:ext>
            </a:extLst>
          </p:cNvPr>
          <p:cNvSpPr/>
          <p:nvPr/>
        </p:nvSpPr>
        <p:spPr>
          <a:xfrm>
            <a:off x="11568608" y="6387858"/>
            <a:ext cx="623392" cy="2815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sz="1600" dirty="0" err="1"/>
          </a:p>
        </p:txBody>
      </p:sp>
      <p:pic>
        <p:nvPicPr>
          <p:cNvPr id="38" name="Picture 3">
            <a:extLst>
              <a:ext uri="{FF2B5EF4-FFF2-40B4-BE49-F238E27FC236}">
                <a16:creationId xmlns:a16="http://schemas.microsoft.com/office/drawing/2014/main" id="{0B33E3FE-E291-4BF7-83B6-9873472F68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976" y="3174587"/>
            <a:ext cx="2760340" cy="1635407"/>
          </a:xfrm>
          <a:prstGeom prst="rect">
            <a:avLst/>
          </a:prstGeom>
        </p:spPr>
      </p:pic>
      <p:sp>
        <p:nvSpPr>
          <p:cNvPr id="41" name="Fußzeilenplatzhalter 3">
            <a:extLst>
              <a:ext uri="{FF2B5EF4-FFF2-40B4-BE49-F238E27FC236}">
                <a16:creationId xmlns:a16="http://schemas.microsoft.com/office/drawing/2014/main" id="{376A6B4D-AAC6-4BBA-A42C-191DF6C97EAE}"/>
              </a:ext>
            </a:extLst>
          </p:cNvPr>
          <p:cNvSpPr txBox="1">
            <a:spLocks/>
          </p:cNvSpPr>
          <p:nvPr/>
        </p:nvSpPr>
        <p:spPr bwMode="gray">
          <a:xfrm>
            <a:off x="367512" y="5961430"/>
            <a:ext cx="9116145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latin typeface="+mn-lt"/>
              </a:rPr>
              <a:t>Quelle: IQVIA</a:t>
            </a:r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309631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OL4bR8gjcnkum4eBODWQ"/>
</p:tagLst>
</file>

<file path=ppt/theme/theme1.xml><?xml version="1.0" encoding="utf-8"?>
<a:theme xmlns:a="http://schemas.openxmlformats.org/drawingml/2006/main" name="IQVIATemplate_WS_2018-9-13">
  <a:themeElements>
    <a:clrScheme name="IQVIA Wave2">
      <a:dk1>
        <a:srgbClr val="2B3A42"/>
      </a:dk1>
      <a:lt1>
        <a:srgbClr val="FFFFFF"/>
      </a:lt1>
      <a:dk2>
        <a:srgbClr val="2B3A42"/>
      </a:dk2>
      <a:lt2>
        <a:srgbClr val="F0B323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BFB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4" id="{EA192E10-E366-48AA-89A9-2335049343A1}" vid="{CF72F06F-7628-4C9D-A986-613710AB3459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1179F2CDC03045B7E27BFA7E2C1985" ma:contentTypeVersion="23" ma:contentTypeDescription="Create a new document." ma:contentTypeScope="" ma:versionID="05d26408fca15663a7fb47e1be0d3d92">
  <xsd:schema xmlns:xsd="http://www.w3.org/2001/XMLSchema" xmlns:xs="http://www.w3.org/2001/XMLSchema" xmlns:p="http://schemas.microsoft.com/office/2006/metadata/properties" xmlns:ns2="58efb1c5-837f-45ae-93da-6370a20ee6c7" xmlns:ns3="a60e5538-65d5-40b2-995c-731e9579326c" targetNamespace="http://schemas.microsoft.com/office/2006/metadata/properties" ma:root="true" ma:fieldsID="0a144cc8a8596306519401acc0558d4d" ns2:_="" ns3:_="">
    <xsd:import namespace="58efb1c5-837f-45ae-93da-6370a20ee6c7"/>
    <xsd:import namespace="a60e5538-65d5-40b2-995c-731e9579326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  <xsd:element ref="ns2:LastSharedByUser" minOccurs="0"/>
                <xsd:element ref="ns2:LastSharedByTime" minOccurs="0"/>
                <xsd:element ref="ns3:CheckIn_x0020_Workflow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yeak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fb1c5-837f-45ae-93da-6370a20ee6c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0e5538-65d5-40b2-995c-731e9579326c" elementFormDefault="qualified">
    <xsd:import namespace="http://schemas.microsoft.com/office/2006/documentManagement/types"/>
    <xsd:import namespace="http://schemas.microsoft.com/office/infopath/2007/PartnerControls"/>
    <xsd:element name="CheckIn_x0020_Workflow" ma:index="13" nillable="true" ma:displayName="CheckIn Workflow" ma:internalName="CheckIn_x0020_Workflow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14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yeak" ma:index="17" nillable="true" ma:displayName="Description" ma:internalName="yeak">
      <xsd:simpleType>
        <xsd:restriction base="dms:Text"/>
      </xsd:simpleType>
    </xsd:element>
    <xsd:element name="MediaServiceAutoTags" ma:index="18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9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2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heckIn_x0020_Workflow xmlns="a60e5538-65d5-40b2-995c-731e9579326c">
      <Url xsi:nil="true"/>
      <Description xsi:nil="true"/>
    </CheckIn_x0020_Workflow>
    <yeak xmlns="a60e5538-65d5-40b2-995c-731e9579326c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9BE79C3-D0DC-44D4-A699-D6481C1DA4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efb1c5-837f-45ae-93da-6370a20ee6c7"/>
    <ds:schemaRef ds:uri="a60e5538-65d5-40b2-995c-731e9579326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CEABEC3-CF50-4137-8CAB-5828584C9353}">
  <ds:schemaRefs>
    <ds:schemaRef ds:uri="a60e5538-65d5-40b2-995c-731e9579326c"/>
    <ds:schemaRef ds:uri="58efb1c5-837f-45ae-93da-6370a20ee6c7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01AF671-19C8-489E-A19F-04619A2A771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8</Words>
  <Application>Microsoft Office PowerPoint</Application>
  <PresentationFormat>Breitbild</PresentationFormat>
  <Paragraphs>8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Arial Narrow</vt:lpstr>
      <vt:lpstr>Georgia</vt:lpstr>
      <vt:lpstr>Wingdings</vt:lpstr>
      <vt:lpstr>IQVIATemplate_WS_2018-9-13</vt:lpstr>
      <vt:lpstr>think-cell Folie</vt:lpstr>
      <vt:lpstr>Abbildung 1: KI-Analyse – Alter und Komorbidität als wesentliche Einflussfaktoren für den Krankheitsverlauf bei Arthrose mit schneller Progression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bildung 1: Digitale Transformation - datengestützte Entscheidungen unter Zuhilfenahme Künstlicher Intelligenz</dc:title>
  <dc:creator>Pabst, Dirk</dc:creator>
  <cp:lastModifiedBy>Maag, Gisela</cp:lastModifiedBy>
  <cp:revision>15</cp:revision>
  <cp:lastPrinted>2017-10-20T15:11:52Z</cp:lastPrinted>
  <dcterms:created xsi:type="dcterms:W3CDTF">2019-05-07T14:42:56Z</dcterms:created>
  <dcterms:modified xsi:type="dcterms:W3CDTF">2019-08-14T14:27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1179F2CDC03045B7E27BFA7E2C1985</vt:lpwstr>
  </property>
</Properties>
</file>